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84" r:id="rId5"/>
    <p:sldMasterId id="2147483732" r:id="rId6"/>
  </p:sldMasterIdLst>
  <p:notesMasterIdLst>
    <p:notesMasterId r:id="rId42"/>
  </p:notesMasterIdLst>
  <p:handoutMasterIdLst>
    <p:handoutMasterId r:id="rId43"/>
  </p:handoutMasterIdLst>
  <p:sldIdLst>
    <p:sldId id="1246" r:id="rId7"/>
    <p:sldId id="1239" r:id="rId8"/>
    <p:sldId id="1241" r:id="rId9"/>
    <p:sldId id="1238" r:id="rId10"/>
    <p:sldId id="1237" r:id="rId11"/>
    <p:sldId id="1240" r:id="rId12"/>
    <p:sldId id="1242" r:id="rId13"/>
    <p:sldId id="1257" r:id="rId14"/>
    <p:sldId id="1259" r:id="rId15"/>
    <p:sldId id="1262" r:id="rId16"/>
    <p:sldId id="1083" r:id="rId17"/>
    <p:sldId id="1264" r:id="rId18"/>
    <p:sldId id="2142535104" r:id="rId19"/>
    <p:sldId id="1265" r:id="rId20"/>
    <p:sldId id="1266" r:id="rId21"/>
    <p:sldId id="1267" r:id="rId22"/>
    <p:sldId id="1269" r:id="rId23"/>
    <p:sldId id="1268" r:id="rId24"/>
    <p:sldId id="2142535106" r:id="rId25"/>
    <p:sldId id="2142535102" r:id="rId26"/>
    <p:sldId id="1270" r:id="rId27"/>
    <p:sldId id="2142535107" r:id="rId28"/>
    <p:sldId id="1271" r:id="rId29"/>
    <p:sldId id="1061" r:id="rId30"/>
    <p:sldId id="290" r:id="rId31"/>
    <p:sldId id="1272" r:id="rId32"/>
    <p:sldId id="1273" r:id="rId33"/>
    <p:sldId id="1062" r:id="rId34"/>
    <p:sldId id="1006" r:id="rId35"/>
    <p:sldId id="1058" r:id="rId36"/>
    <p:sldId id="1059" r:id="rId37"/>
    <p:sldId id="308" r:id="rId38"/>
    <p:sldId id="309" r:id="rId39"/>
    <p:sldId id="310" r:id="rId40"/>
    <p:sldId id="1081" r:id="rId41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gemeine Titelfolie" id="{BBA362CA-C416-47E9-884A-61C70B8AD348}">
          <p14:sldIdLst>
            <p14:sldId id="1246"/>
          </p14:sldIdLst>
        </p14:section>
        <p14:section name="Individualisierte Titelfolien" id="{6E421AF0-9833-43F0-8DD9-63281A30FE0F}">
          <p14:sldIdLst>
            <p14:sldId id="1239"/>
            <p14:sldId id="1241"/>
            <p14:sldId id="1238"/>
            <p14:sldId id="1237"/>
            <p14:sldId id="1240"/>
            <p14:sldId id="1242"/>
          </p14:sldIdLst>
        </p14:section>
        <p14:section name="Story bKV" id="{D113D47C-D887-42E4-BF38-9CCE454A05F5}">
          <p14:sldIdLst>
            <p14:sldId id="1257"/>
            <p14:sldId id="1259"/>
            <p14:sldId id="1262"/>
          </p14:sldIdLst>
        </p14:section>
        <p14:section name="Tarifinfos" id="{D56D918E-8F66-484F-BEF5-8F9BEA6091E6}">
          <p14:sldIdLst>
            <p14:sldId id="1083"/>
            <p14:sldId id="1264"/>
            <p14:sldId id="2142535104"/>
            <p14:sldId id="1265"/>
            <p14:sldId id="1266"/>
            <p14:sldId id="1267"/>
            <p14:sldId id="1269"/>
            <p14:sldId id="1268"/>
            <p14:sldId id="2142535106"/>
            <p14:sldId id="2142535102"/>
            <p14:sldId id="1270"/>
            <p14:sldId id="2142535107"/>
            <p14:sldId id="1271"/>
            <p14:sldId id="1061"/>
          </p14:sldIdLst>
        </p14:section>
        <p14:section name="Zusammenfassung" id="{E976D49E-A2F9-4E9E-895A-501C85F766FF}">
          <p14:sldIdLst>
            <p14:sldId id="290"/>
            <p14:sldId id="1272"/>
            <p14:sldId id="1273"/>
            <p14:sldId id="1062"/>
          </p14:sldIdLst>
        </p14:section>
        <p14:section name="Backup" id="{F07E9CB4-5291-4579-BBDC-8FF12C89FBBB}">
          <p14:sldIdLst>
            <p14:sldId id="1006"/>
            <p14:sldId id="1058"/>
            <p14:sldId id="1059"/>
            <p14:sldId id="308"/>
            <p14:sldId id="309"/>
            <p14:sldId id="310"/>
            <p14:sldId id="10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5" orient="horz" pos="3748" userDrawn="1">
          <p15:clr>
            <a:srgbClr val="A4A3A4"/>
          </p15:clr>
        </p15:guide>
        <p15:guide id="6" pos="2525" userDrawn="1">
          <p15:clr>
            <a:srgbClr val="A4A3A4"/>
          </p15:clr>
        </p15:guide>
        <p15:guide id="7" pos="2706" userDrawn="1">
          <p15:clr>
            <a:srgbClr val="A4A3A4"/>
          </p15:clr>
        </p15:guide>
        <p15:guide id="8" pos="4974" userDrawn="1">
          <p15:clr>
            <a:srgbClr val="A4A3A4"/>
          </p15:clr>
        </p15:guide>
        <p15:guide id="9" pos="5155" userDrawn="1">
          <p15:clr>
            <a:srgbClr val="A4A3A4"/>
          </p15:clr>
        </p15:guide>
        <p15:guide id="10" orient="horz" pos="1979" userDrawn="1">
          <p15:clr>
            <a:srgbClr val="A4A3A4"/>
          </p15:clr>
        </p15:guide>
        <p15:guide id="12" orient="horz" pos="2273" userDrawn="1">
          <p15:clr>
            <a:srgbClr val="A4A3A4"/>
          </p15:clr>
        </p15:guide>
        <p15:guide id="13" pos="3772" userDrawn="1">
          <p15:clr>
            <a:srgbClr val="A4A3A4"/>
          </p15:clr>
        </p15:guide>
        <p15:guide id="14" pos="3931" userDrawn="1">
          <p15:clr>
            <a:srgbClr val="A4A3A4"/>
          </p15:clr>
        </p15:guide>
        <p15:guide id="15" pos="7423" userDrawn="1">
          <p15:clr>
            <a:srgbClr val="A4A3A4"/>
          </p15:clr>
        </p15:guide>
        <p15:guide id="16" orient="horz" pos="2478" userDrawn="1">
          <p15:clr>
            <a:srgbClr val="A4A3A4"/>
          </p15:clr>
        </p15:guide>
        <p15:guide id="17" orient="horz" pos="4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ECE2"/>
    <a:srgbClr val="ECE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93384" autoAdjust="0"/>
  </p:normalViewPr>
  <p:slideViewPr>
    <p:cSldViewPr snapToGrid="0" showGuides="1">
      <p:cViewPr varScale="1">
        <p:scale>
          <a:sx n="143" d="100"/>
          <a:sy n="143" d="100"/>
        </p:scale>
        <p:origin x="120" y="264"/>
      </p:cViewPr>
      <p:guideLst>
        <p:guide orient="horz" pos="845"/>
        <p:guide pos="257"/>
        <p:guide orient="horz" pos="3748"/>
        <p:guide pos="2525"/>
        <p:guide pos="2706"/>
        <p:guide pos="4974"/>
        <p:guide pos="5155"/>
        <p:guide orient="horz" pos="1979"/>
        <p:guide orient="horz" pos="2273"/>
        <p:guide pos="3772"/>
        <p:guide pos="3931"/>
        <p:guide pos="7423"/>
        <p:guide orient="horz" pos="2478"/>
        <p:guide orient="horz" pos="420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3" d="100"/>
        <a:sy n="73" d="100"/>
      </p:scale>
      <p:origin x="0" y="-282"/>
    </p:cViewPr>
  </p:sorterViewPr>
  <p:notesViewPr>
    <p:cSldViewPr snapToGrid="0" showGuides="1">
      <p:cViewPr varScale="1">
        <p:scale>
          <a:sx n="115" d="100"/>
          <a:sy n="115" d="100"/>
        </p:scale>
        <p:origin x="507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Befragt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266-48EB-9605-32939FDEF49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266-48EB-9605-32939FDEF49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266-48EB-9605-32939FDEF4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stimme zu</c:v>
                </c:pt>
                <c:pt idx="1">
                  <c:v>stimme nicht zu</c:v>
                </c:pt>
                <c:pt idx="2">
                  <c:v>unentschieden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63.3</c:v>
                </c:pt>
                <c:pt idx="1">
                  <c:v>20.8</c:v>
                </c:pt>
                <c:pt idx="2">
                  <c:v>1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C5-446B-93AF-0307E38E56C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83220223600686"/>
          <c:y val="3.959751689272021E-2"/>
          <c:w val="0.77433583388791749"/>
          <c:h val="0.9208049662145595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E</c:v>
                </c:pt>
              </c:strCache>
            </c:strRef>
          </c:tx>
          <c:spPr>
            <a:solidFill>
              <a:schemeClr val="accent1"/>
            </a:solidFill>
            <a:ln w="31750"/>
          </c:spPr>
          <c:dPt>
            <c:idx val="0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E2-434C-9E10-AD347FF009A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E2-434C-9E10-AD347FF009A0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E2-434C-9E10-AD347FF009A0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4E2-434C-9E10-AD347FF009A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E2-434C-9E10-AD347FF009A0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E2-434C-9E10-AD347FF009A0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E2-434C-9E10-AD347FF009A0}"/>
              </c:ext>
            </c:extLst>
          </c:dPt>
          <c:dPt>
            <c:idx val="7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4E2-434C-9E10-AD347FF009A0}"/>
              </c:ext>
            </c:extLst>
          </c:dPt>
          <c:dPt>
            <c:idx val="8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4E2-434C-9E10-AD347FF009A0}"/>
              </c:ext>
            </c:extLst>
          </c:dPt>
          <c:dPt>
            <c:idx val="9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4E2-434C-9E10-AD347FF009A0}"/>
              </c:ext>
            </c:extLst>
          </c:dPt>
          <c:dPt>
            <c:idx val="10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64E2-434C-9E10-AD347FF009A0}"/>
              </c:ext>
            </c:extLst>
          </c:dPt>
          <c:cat>
            <c:numRef>
              <c:f>Tabelle1!$A$2:$A$12</c:f>
              <c:numCache>
                <c:formatCode>General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4E2-434C-9E10-AD347FF00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E</c:v>
                </c:pt>
              </c:strCache>
            </c:strRef>
          </c:tx>
          <c:spPr>
            <a:solidFill>
              <a:schemeClr val="accent1"/>
            </a:solidFill>
            <a:ln w="31750"/>
          </c:spPr>
          <c:dPt>
            <c:idx val="0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93-4467-A212-A43B0F5019F9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93-4467-A212-A43B0F5019F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393-4467-A212-A43B0F5019F9}"/>
              </c:ext>
            </c:extLst>
          </c:dPt>
          <c:dPt>
            <c:idx val="3"/>
            <c:bubble3D val="0"/>
            <c:spPr>
              <a:solidFill>
                <a:srgbClr val="EB5B25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393-4467-A212-A43B0F5019F9}"/>
              </c:ext>
            </c:extLst>
          </c:dPt>
          <c:dPt>
            <c:idx val="4"/>
            <c:bubble3D val="0"/>
            <c:spPr>
              <a:solidFill>
                <a:srgbClr val="EB5B25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393-4467-A212-A43B0F5019F9}"/>
              </c:ext>
            </c:extLst>
          </c:dPt>
          <c:dPt>
            <c:idx val="5"/>
            <c:bubble3D val="0"/>
            <c:spPr>
              <a:solidFill>
                <a:srgbClr val="EB5B25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393-4467-A212-A43B0F5019F9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393-4467-A212-A43B0F5019F9}"/>
              </c:ext>
            </c:extLst>
          </c:dPt>
          <c:dPt>
            <c:idx val="7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393-4467-A212-A43B0F5019F9}"/>
              </c:ext>
            </c:extLst>
          </c:dPt>
          <c:dPt>
            <c:idx val="8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393-4467-A212-A43B0F5019F9}"/>
              </c:ext>
            </c:extLst>
          </c:dPt>
          <c:dPt>
            <c:idx val="9"/>
            <c:bubble3D val="0"/>
            <c:spPr>
              <a:solidFill>
                <a:srgbClr val="EB5B25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393-4467-A212-A43B0F5019F9}"/>
              </c:ext>
            </c:extLst>
          </c:dPt>
          <c:dPt>
            <c:idx val="10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393-4467-A212-A43B0F5019F9}"/>
              </c:ext>
            </c:extLst>
          </c:dPt>
          <c:dPt>
            <c:idx val="11"/>
            <c:bubble3D val="0"/>
            <c:spPr>
              <a:solidFill>
                <a:schemeClr val="accent1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393-4467-A212-A43B0F5019F9}"/>
              </c:ext>
            </c:extLst>
          </c:dPt>
          <c:dPt>
            <c:idx val="12"/>
            <c:bubble3D val="0"/>
            <c:spPr>
              <a:solidFill>
                <a:srgbClr val="EB5B25"/>
              </a:solidFill>
              <a:ln w="317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0393-4467-A212-A43B0F5019F9}"/>
              </c:ext>
            </c:extLst>
          </c:dPt>
          <c:cat>
            <c:numRef>
              <c:f>Tabelle1!$A$2:$A$14</c:f>
              <c:numCache>
                <c:formatCode>General</c:formatCode>
                <c:ptCount val="1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0393-4467-A212-A43B0F5019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>
            <a:extLst>
              <a:ext uri="{FF2B5EF4-FFF2-40B4-BE49-F238E27FC236}">
                <a16:creationId xmlns:a16="http://schemas.microsoft.com/office/drawing/2014/main" id="{991F4094-5DD3-473C-96DE-AD00724A51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30811" y="8882563"/>
            <a:ext cx="56815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309517E9-C179-4FD6-9CC5-98C0AC9D00C9}" type="slidenum">
              <a:rPr lang="de-DE" smtClean="0">
                <a:solidFill>
                  <a:schemeClr val="accent4"/>
                </a:solidFill>
              </a:rPr>
              <a:pPr/>
              <a:t>‹Nr.›</a:t>
            </a:fld>
            <a:endParaRPr lang="de-DE" dirty="0">
              <a:solidFill>
                <a:schemeClr val="accent4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72E9ACE-817F-4D64-82E8-0B68A95B5EE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994013" y="8591077"/>
            <a:ext cx="869975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84142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30811" y="8882563"/>
            <a:ext cx="56815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309517E9-C179-4FD6-9CC5-98C0AC9D00C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E0E741-0603-4663-94CB-8C20DA075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2994013" y="8591077"/>
            <a:ext cx="869975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00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0000"/>
      </a:lnSpc>
      <a:spcBef>
        <a:spcPts val="1200"/>
      </a:spcBef>
      <a:defRPr sz="1200" kern="1200">
        <a:solidFill>
          <a:schemeClr val="accent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spcAft>
        <a:spcPts val="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001C2B"/>
                </a:solidFill>
                <a:effectLst/>
                <a:latin typeface="Source Sans 3"/>
              </a:rPr>
              <a:t>Fast zwei Drittel der Beschäftigten in Deutschland würden es begrüßen, wenn ihr Arbeitgeber eine betriebliche Krankenversicherung anbietet. In der Gruppe der 18-29-Jährigen ist die Zustimmung mit 71,9 Prozent besonders hoch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76311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</a:rPr>
              <a:t>Die COVID-19-Pandemie hat das Gesundheitsbewusstsein in Deutschland erheblich gesteigert. Besonders die Generation Z, also die 16- bis 29-Jährigen, zeigt ein wachsendes Gesundheitsbewusstsein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6029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11785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8980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092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976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081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000000"/>
                </a:solidFill>
                <a:effectLst/>
                <a:latin typeface="Source Serif 4"/>
              </a:rPr>
              <a:t>Fast ein Viertel der Befragten (23,5 Prozent) bewertet eine </a:t>
            </a:r>
            <a:r>
              <a:rPr lang="de-DE" b="0" i="0" dirty="0" err="1">
                <a:solidFill>
                  <a:srgbClr val="000000"/>
                </a:solidFill>
                <a:effectLst/>
                <a:latin typeface="Source Serif 4"/>
              </a:rPr>
              <a:t>bKV</a:t>
            </a:r>
            <a:r>
              <a:rPr lang="de-DE" b="0" i="0" dirty="0">
                <a:solidFill>
                  <a:srgbClr val="000000"/>
                </a:solidFill>
                <a:effectLst/>
                <a:latin typeface="Source Serif 4"/>
              </a:rPr>
              <a:t> sogar wertvoller als eine Ge­haltserhöhung. Auch hier liegt die Zustimmung bei den 18-29-jäh­rigen Arbeitnehmern mit 29,4 Prozent überdurchschnittlich hoch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4611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2037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</a:rPr>
              <a:t>Die COVID-19-Pandemie hat das Gesundheitsbewusstsein in Deutschland erheblich gesteigert. Besonders die Generation Z, also die 16- bis 29-Jährigen, zeigt ein wachsendes Gesundheitsbewusstsein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430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it Ihrem Monatsbeitrag haben Ihre Mitarbeitenden ein </a:t>
            </a:r>
            <a:r>
              <a:rPr lang="de-DE" b="0" dirty="0"/>
              <a:t>jährliches Budget für eine Vielzahl an Gesundheitsleistunge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0251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000000"/>
                </a:solidFill>
                <a:effectLst/>
                <a:latin typeface="Metric-Regular"/>
              </a:rPr>
              <a:t>Der Tarif BKBT legt einen besonderen Fokus auf </a:t>
            </a:r>
            <a:r>
              <a:rPr lang="de-DE" b="0" i="0" dirty="0">
                <a:solidFill>
                  <a:srgbClr val="000000"/>
                </a:solidFill>
                <a:effectLst/>
                <a:latin typeface="Metric-SemiBold"/>
              </a:rPr>
              <a:t>Vorsorgemaßnahmen</a:t>
            </a:r>
            <a:r>
              <a:rPr lang="de-DE" b="0" i="0" dirty="0">
                <a:solidFill>
                  <a:srgbClr val="000000"/>
                </a:solidFill>
                <a:effectLst/>
                <a:latin typeface="Metric-Regular"/>
              </a:rPr>
              <a:t> – ein wichtiges Argument für Arbeitgeber, die einen Beitrag zur Gesunderhaltung ihrer Mitarbeiter leisten möchten. Die Höhe der Leistungen bei Zahnprophylaxe, Sehhilfen und Krankenhaustagegeld </a:t>
            </a:r>
            <a:r>
              <a:rPr lang="de-DE" b="0" i="0" dirty="0">
                <a:solidFill>
                  <a:srgbClr val="000000"/>
                </a:solidFill>
                <a:effectLst/>
                <a:latin typeface="Metric-SemiBold"/>
              </a:rPr>
              <a:t>unterscheiden sich</a:t>
            </a:r>
            <a:r>
              <a:rPr lang="de-DE" b="0" i="0" dirty="0">
                <a:solidFill>
                  <a:srgbClr val="000000"/>
                </a:solidFill>
                <a:effectLst/>
                <a:latin typeface="Metric-Regular"/>
              </a:rPr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309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96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chemeClr val="bg1"/>
                </a:solidFill>
              </a:rPr>
              <a:t>Die COVID-19-Pandemie hat das Gesundheitsbewusstsein in Deutschland erheblich gesteigert. Besonders die Generation Z, also die 16- bis 29-Jährigen, zeigt ein wachsendes Gesundheitsbewusstsein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2671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9517E9-C179-4FD6-9CC5-98C0AC9D00C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8609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Keyvisual und grün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6A88B88-38A1-E84A-DA50-BC3B30EA94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48B1841-01CE-4279-9287-D71C77AF46D6}"/>
              </a:ext>
            </a:extLst>
          </p:cNvPr>
          <p:cNvSpPr/>
          <p:nvPr userDrawn="1"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7841170" y="2411896"/>
            <a:ext cx="3577388" cy="1224000"/>
          </a:xfrm>
        </p:spPr>
        <p:txBody>
          <a:bodyPr anchor="b"/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7841170" y="3708000"/>
            <a:ext cx="3577388" cy="504000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8A420F65-EF73-4FA3-A317-809F62D2E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94474"/>
            <a:ext cx="3577388" cy="144000"/>
          </a:xfrm>
        </p:spPr>
        <p:txBody>
          <a:bodyPr/>
          <a:lstStyle>
            <a:lvl1pPr algn="l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F4E73C7-3280-48CC-8E18-F2E0B38C10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596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9FF80EC-0581-4231-B689-89FC1FBE74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73718C8-D943-4221-9230-1B369FCCC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4295775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D6BB31C7-1592-43E6-93F7-865DC7B7BE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8183562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1DA68C81-6370-4929-9E40-4B62058E5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07988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0191F92-08DB-4DEE-96E6-3FE06F36E1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295775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B6FA55-510D-4CD5-8871-DF9908F3A59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8183562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2545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2706" userDrawn="1">
          <p15:clr>
            <a:srgbClr val="FBAE40"/>
          </p15:clr>
        </p15:guide>
        <p15:guide id="3" pos="2525" userDrawn="1">
          <p15:clr>
            <a:srgbClr val="FBAE40"/>
          </p15:clr>
        </p15:guide>
        <p15:guide id="4" pos="4974" userDrawn="1">
          <p15:clr>
            <a:srgbClr val="FBAE40"/>
          </p15:clr>
        </p15:guide>
        <p15:guide id="5" pos="5155" userDrawn="1">
          <p15:clr>
            <a:srgbClr val="FBAE40"/>
          </p15:clr>
        </p15:guide>
        <p15:guide id="6" orient="horz" pos="2273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462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0462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0462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240463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7873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4800" y="1484313"/>
            <a:ext cx="7489212" cy="2462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94800" y="1783434"/>
            <a:ext cx="7489212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294800" y="5882889"/>
            <a:ext cx="7489212" cy="138499"/>
          </a:xfrm>
        </p:spPr>
        <p:txBody>
          <a:bodyPr wrap="square"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294800" y="2082800"/>
            <a:ext cx="7489212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9596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240462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7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996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468F67D7-664E-4CA1-8395-1E99AE6C0D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40462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2394B7C-326B-4E62-BBFB-20BDD2D3BD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462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7315-1508-4F8E-AF03-72D38603D7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40462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18" name="Diagrammplatzhalter 2">
            <a:extLst>
              <a:ext uri="{FF2B5EF4-FFF2-40B4-BE49-F238E27FC236}">
                <a16:creationId xmlns:a16="http://schemas.microsoft.com/office/drawing/2014/main" id="{C921FA15-D6B9-45D1-B2C6-D0A7FBD510A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0462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4311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11376026" cy="2462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11376026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82889"/>
            <a:ext cx="11376026" cy="138499"/>
          </a:xfrm>
        </p:spPr>
        <p:txBody>
          <a:bodyPr wrap="square" anchor="b" anchorCtr="0">
            <a:spAutoFit/>
          </a:bodyPr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11376026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95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DE0D70-570A-46FB-B7B9-1F84EBF4756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28CD76-E68F-4C49-935E-16FFD2F0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47FABA-2EF0-410C-99FF-EBBA8011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965CE5-8329-4109-9433-1622915F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1067C31-1A30-4887-A2C8-A35DFA05F3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</p:spTree>
    <p:extLst>
      <p:ext uri="{BB962C8B-B14F-4D97-AF65-F5344CB8AC3E}">
        <p14:creationId xmlns:p14="http://schemas.microsoft.com/office/powerpoint/2010/main" val="944853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8BC072-E656-49C7-9863-F88AA3A7C8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476250"/>
            <a:ext cx="7640007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7E1FDB-7749-4631-91C3-279B7497F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5845E7C-BEFE-4B8B-B1E5-C212E8E02E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183563" y="180000"/>
            <a:ext cx="3828436" cy="6489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F56FFC7-A665-45F4-B514-CC6172B418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97E650-784B-4989-85C0-6ECC1EF228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76390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59458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Wechs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8B42CCA-295C-41B8-8800-A4C80E0BD3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80000" y="179999"/>
            <a:ext cx="11832000" cy="648908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0455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2279650" y="1495600"/>
            <a:ext cx="3096000" cy="38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27688" y="1497494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27688" y="2311087"/>
            <a:ext cx="6156324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27688" y="1778290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3019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ganzseitigem Wechsel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32C0B7B-CBE7-4E60-BE6D-6C54613583E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79999" y="179999"/>
            <a:ext cx="11832000" cy="64890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o fügen Sie ein Hintergrundbild ein: </a:t>
            </a:r>
            <a:br>
              <a:rPr lang="de-DE" dirty="0"/>
            </a:br>
            <a:r>
              <a:rPr lang="de-DE" dirty="0"/>
              <a:t>Bitte wählen Sie ein Bild aus, indem Sie auf den Reiter „Einfügen“ klicken und den Befehl „Bilder“ wählen.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4116CC9-D85E-4755-9690-EAEFC5338C7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5036775" y="2223000"/>
            <a:ext cx="6583774" cy="2412000"/>
          </a:xfrm>
          <a:custGeom>
            <a:avLst/>
            <a:gdLst>
              <a:gd name="connsiteX0" fmla="*/ 56127 w 6583774"/>
              <a:gd name="connsiteY0" fmla="*/ 0 h 2412000"/>
              <a:gd name="connsiteX1" fmla="*/ 6527647 w 6583774"/>
              <a:gd name="connsiteY1" fmla="*/ 0 h 2412000"/>
              <a:gd name="connsiteX2" fmla="*/ 6583774 w 6583774"/>
              <a:gd name="connsiteY2" fmla="*/ 56127 h 2412000"/>
              <a:gd name="connsiteX3" fmla="*/ 6583774 w 6583774"/>
              <a:gd name="connsiteY3" fmla="*/ 2355873 h 2412000"/>
              <a:gd name="connsiteX4" fmla="*/ 6527647 w 6583774"/>
              <a:gd name="connsiteY4" fmla="*/ 2412000 h 2412000"/>
              <a:gd name="connsiteX5" fmla="*/ 56127 w 6583774"/>
              <a:gd name="connsiteY5" fmla="*/ 2412000 h 2412000"/>
              <a:gd name="connsiteX6" fmla="*/ 0 w 6583774"/>
              <a:gd name="connsiteY6" fmla="*/ 2355873 h 2412000"/>
              <a:gd name="connsiteX7" fmla="*/ 0 w 6583774"/>
              <a:gd name="connsiteY7" fmla="*/ 56127 h 2412000"/>
              <a:gd name="connsiteX8" fmla="*/ 56127 w 6583774"/>
              <a:gd name="connsiteY8" fmla="*/ 0 h 24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774" h="2412000">
                <a:moveTo>
                  <a:pt x="56127" y="0"/>
                </a:moveTo>
                <a:lnTo>
                  <a:pt x="6527647" y="0"/>
                </a:lnTo>
                <a:cubicBezTo>
                  <a:pt x="6558645" y="0"/>
                  <a:pt x="6583774" y="25129"/>
                  <a:pt x="6583774" y="56127"/>
                </a:cubicBezTo>
                <a:lnTo>
                  <a:pt x="6583774" y="2355873"/>
                </a:lnTo>
                <a:cubicBezTo>
                  <a:pt x="6583774" y="2386871"/>
                  <a:pt x="6558645" y="2412000"/>
                  <a:pt x="6527647" y="2412000"/>
                </a:cubicBezTo>
                <a:lnTo>
                  <a:pt x="56127" y="2412000"/>
                </a:lnTo>
                <a:cubicBezTo>
                  <a:pt x="25129" y="2412000"/>
                  <a:pt x="0" y="2386871"/>
                  <a:pt x="0" y="2355873"/>
                </a:cubicBezTo>
                <a:lnTo>
                  <a:pt x="0" y="56127"/>
                </a:lnTo>
                <a:cubicBezTo>
                  <a:pt x="0" y="25129"/>
                  <a:pt x="25129" y="0"/>
                  <a:pt x="56127" y="0"/>
                </a:cubicBezTo>
                <a:close/>
              </a:path>
            </a:pathLst>
          </a:custGeom>
          <a:gradFill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</a:gradFill>
        </p:spPr>
        <p:txBody>
          <a:bodyPr vert="horz" lIns="0" tIns="0" rIns="0" bIns="0" rtlCol="0" anchor="b">
            <a:noAutofit/>
          </a:bodyPr>
          <a:lstStyle>
            <a:lvl1pPr>
              <a:defRPr lang="de-DE" sz="1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3E7ACC9E-4A0A-44D3-B347-6BE8505BB8A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841170" y="2412000"/>
            <a:ext cx="3577388" cy="1224000"/>
          </a:xfrm>
        </p:spPr>
        <p:txBody>
          <a:bodyPr anchor="b"/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F6CFB820-E971-41C8-A458-280EAF2776D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841170" y="3708000"/>
            <a:ext cx="3577388" cy="504000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625B69D-1C6C-4A59-AFC6-2CE4610E11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84000"/>
            <a:ext cx="3577388" cy="144000"/>
          </a:xfrm>
        </p:spPr>
        <p:txBody>
          <a:bodyPr/>
          <a:lstStyle>
            <a:lvl1pPr algn="l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B4355D-48E8-401B-A9E2-0A9A556CD8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407200" y="3124800"/>
            <a:ext cx="1378800" cy="655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1566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2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e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07988" y="2246611"/>
            <a:ext cx="2094100" cy="2581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30076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DCE4AD0C-74C2-4546-9448-E579E680121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253164" y="2246611"/>
            <a:ext cx="2094100" cy="2581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B0F89D90-603D-4BEC-A92B-0CC9572A89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53164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E0C26BD-D4EF-42D7-B503-B1347E1FE1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75252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2976E3E-DD26-4111-A757-1EC243A2B2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53164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</p:spTree>
    <p:extLst>
      <p:ext uri="{BB962C8B-B14F-4D97-AF65-F5344CB8AC3E}">
        <p14:creationId xmlns:p14="http://schemas.microsoft.com/office/powerpoint/2010/main" val="84291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74A85017-E04B-49DE-ADD0-EFE9D206BA9C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D1E16E3-7F0F-4915-AAF8-A4EB36BCE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933537" y="2909798"/>
            <a:ext cx="2324927" cy="139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396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08997412-C897-4AD9-A9CC-09F1BF58B312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64AAFC-9332-41C7-9D5D-0D8E0A3408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56000" y="4561200"/>
            <a:ext cx="6480000" cy="943200"/>
          </a:xfrm>
        </p:spPr>
        <p:txBody>
          <a:bodyPr anchor="b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C20B08-2920-49E0-A084-64E8BF172F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856000" y="5576400"/>
            <a:ext cx="6480000" cy="432000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5206586-87DA-4924-BB0E-31A6CA744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7562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Keyvisual und grün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95B0D8C-11E7-4D75-8286-5C4DB53A2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0000" y="180000"/>
            <a:ext cx="11832000" cy="6489088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48B1841-01CE-4279-9287-D71C77AF46D6}"/>
              </a:ext>
            </a:extLst>
          </p:cNvPr>
          <p:cNvSpPr/>
          <p:nvPr userDrawn="1"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7841170" y="2411896"/>
            <a:ext cx="3577388" cy="1224000"/>
          </a:xfrm>
        </p:spPr>
        <p:txBody>
          <a:bodyPr anchor="b"/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7841170" y="3708000"/>
            <a:ext cx="3577388" cy="504000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8A420F65-EF73-4FA3-A317-809F62D2E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94474"/>
            <a:ext cx="3577388" cy="144000"/>
          </a:xfrm>
        </p:spPr>
        <p:txBody>
          <a:bodyPr/>
          <a:lstStyle>
            <a:lvl1pPr algn="l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F4E73C7-3280-48CC-8E18-F2E0B38C10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8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ganzseitigem Wechsel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32C0B7B-CBE7-4E60-BE6D-6C54613583E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79999" y="179999"/>
            <a:ext cx="11832000" cy="64890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o fügen Sie ein Hintergrundbild ein: </a:t>
            </a:r>
            <a:br>
              <a:rPr lang="de-DE" dirty="0"/>
            </a:br>
            <a:r>
              <a:rPr lang="de-DE" dirty="0"/>
              <a:t>Bitte wählen Sie ein Bild aus, indem Sie auf den Reiter „Einfügen“ klicken und den Befehl „Bilder“ wählen.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4116CC9-D85E-4755-9690-EAEFC5338C7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5036775" y="2223000"/>
            <a:ext cx="6583774" cy="2412000"/>
          </a:xfrm>
          <a:custGeom>
            <a:avLst/>
            <a:gdLst>
              <a:gd name="connsiteX0" fmla="*/ 56127 w 6583774"/>
              <a:gd name="connsiteY0" fmla="*/ 0 h 2412000"/>
              <a:gd name="connsiteX1" fmla="*/ 6527647 w 6583774"/>
              <a:gd name="connsiteY1" fmla="*/ 0 h 2412000"/>
              <a:gd name="connsiteX2" fmla="*/ 6583774 w 6583774"/>
              <a:gd name="connsiteY2" fmla="*/ 56127 h 2412000"/>
              <a:gd name="connsiteX3" fmla="*/ 6583774 w 6583774"/>
              <a:gd name="connsiteY3" fmla="*/ 2355873 h 2412000"/>
              <a:gd name="connsiteX4" fmla="*/ 6527647 w 6583774"/>
              <a:gd name="connsiteY4" fmla="*/ 2412000 h 2412000"/>
              <a:gd name="connsiteX5" fmla="*/ 56127 w 6583774"/>
              <a:gd name="connsiteY5" fmla="*/ 2412000 h 2412000"/>
              <a:gd name="connsiteX6" fmla="*/ 0 w 6583774"/>
              <a:gd name="connsiteY6" fmla="*/ 2355873 h 2412000"/>
              <a:gd name="connsiteX7" fmla="*/ 0 w 6583774"/>
              <a:gd name="connsiteY7" fmla="*/ 56127 h 2412000"/>
              <a:gd name="connsiteX8" fmla="*/ 56127 w 6583774"/>
              <a:gd name="connsiteY8" fmla="*/ 0 h 24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774" h="2412000">
                <a:moveTo>
                  <a:pt x="56127" y="0"/>
                </a:moveTo>
                <a:lnTo>
                  <a:pt x="6527647" y="0"/>
                </a:lnTo>
                <a:cubicBezTo>
                  <a:pt x="6558645" y="0"/>
                  <a:pt x="6583774" y="25129"/>
                  <a:pt x="6583774" y="56127"/>
                </a:cubicBezTo>
                <a:lnTo>
                  <a:pt x="6583774" y="2355873"/>
                </a:lnTo>
                <a:cubicBezTo>
                  <a:pt x="6583774" y="2386871"/>
                  <a:pt x="6558645" y="2412000"/>
                  <a:pt x="6527647" y="2412000"/>
                </a:cubicBezTo>
                <a:lnTo>
                  <a:pt x="56127" y="2412000"/>
                </a:lnTo>
                <a:cubicBezTo>
                  <a:pt x="25129" y="2412000"/>
                  <a:pt x="0" y="2386871"/>
                  <a:pt x="0" y="2355873"/>
                </a:cubicBezTo>
                <a:lnTo>
                  <a:pt x="0" y="56127"/>
                </a:lnTo>
                <a:cubicBezTo>
                  <a:pt x="0" y="25129"/>
                  <a:pt x="25129" y="0"/>
                  <a:pt x="56127" y="0"/>
                </a:cubicBezTo>
                <a:close/>
              </a:path>
            </a:pathLst>
          </a:custGeom>
          <a:gradFill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</a:gradFill>
        </p:spPr>
        <p:txBody>
          <a:bodyPr vert="horz" lIns="0" tIns="0" rIns="0" bIns="0" rtlCol="0" anchor="b">
            <a:noAutofit/>
          </a:bodyPr>
          <a:lstStyle>
            <a:lvl1pPr>
              <a:defRPr lang="de-DE" sz="1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3E7ACC9E-4A0A-44D3-B347-6BE8505BB8A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841170" y="2412000"/>
            <a:ext cx="3577388" cy="1224000"/>
          </a:xfrm>
        </p:spPr>
        <p:txBody>
          <a:bodyPr anchor="b"/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F6CFB820-E971-41C8-A458-280EAF2776D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841170" y="3708000"/>
            <a:ext cx="3577388" cy="504000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625B69D-1C6C-4A59-AFC6-2CE4610E11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84000"/>
            <a:ext cx="3577388" cy="144000"/>
          </a:xfrm>
        </p:spPr>
        <p:txBody>
          <a:bodyPr/>
          <a:lstStyle>
            <a:lvl1pPr algn="l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B4355D-48E8-401B-A9E2-0A9A556CD8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407200" y="3124800"/>
            <a:ext cx="1378800" cy="655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914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er 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461CAF6-E57B-49ED-8AE4-9A59F2D906E1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2856000" y="4320209"/>
            <a:ext cx="6480000" cy="1187791"/>
          </a:xfrm>
        </p:spPr>
        <p:txBody>
          <a:bodyPr anchor="b"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2856000" y="5589807"/>
            <a:ext cx="6480000" cy="504000"/>
          </a:xfrm>
        </p:spPr>
        <p:txBody>
          <a:bodyPr vert="horz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B642990-DDA4-4D18-9EBD-00481549E0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856000" y="6175660"/>
            <a:ext cx="6480000" cy="144000"/>
          </a:xfrm>
        </p:spPr>
        <p:txBody>
          <a:bodyPr/>
          <a:lstStyle>
            <a:lvl1pPr algn="ctr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DB19AC6-C115-42DD-B8C8-B68979FFFE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407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dirty="0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F33780-3FA7-4C26-8299-BF6362DBD3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11376025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656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2711450" y="1484313"/>
            <a:ext cx="6769100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49686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07987" y="1484313"/>
            <a:ext cx="11376025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57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40462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28568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er 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461CAF6-E57B-49ED-8AE4-9A59F2D906E1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2856000" y="4320209"/>
            <a:ext cx="6480000" cy="1187791"/>
          </a:xfrm>
        </p:spPr>
        <p:txBody>
          <a:bodyPr anchor="b"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2856000" y="5589807"/>
            <a:ext cx="6480000" cy="504000"/>
          </a:xfrm>
        </p:spPr>
        <p:txBody>
          <a:bodyPr vert="horz" lIns="0" tIns="0" rIns="0" bIns="0" rtlCol="0" anchor="t">
            <a:noAutofit/>
          </a:bodyPr>
          <a:lstStyle>
            <a:lvl1pPr algn="ctr">
              <a:spcBef>
                <a:spcPts val="0"/>
              </a:spcBef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B642990-DDA4-4D18-9EBD-00481549E0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856000" y="6175660"/>
            <a:ext cx="6480000" cy="144000"/>
          </a:xfrm>
        </p:spPr>
        <p:txBody>
          <a:bodyPr/>
          <a:lstStyle>
            <a:lvl1pPr algn="ctr"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DB19AC6-C115-42DD-B8C8-B68979FFFE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18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4295775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C0FAE760-4F4A-4ACE-BC08-FA04ABFE8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8183562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2458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039EC8C1-C6D4-4281-8E57-CC2F4359F2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2420A9F-2E56-4919-834B-320EEDD304A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40462" y="1484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48CCEFC0-4D9A-4B96-BFE8-65BB705ED7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407988" y="3897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E967D63-261C-4D71-8925-BF8301A93F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40462" y="3897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0980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orient="horz" pos="2273">
          <p15:clr>
            <a:srgbClr val="FBAE40"/>
          </p15:clr>
        </p15:guide>
        <p15:guide id="5" orient="horz" pos="24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9FF80EC-0581-4231-B689-89FC1FBE74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73718C8-D943-4221-9230-1B369FCCC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4295775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D6BB31C7-1592-43E6-93F7-865DC7B7BE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8183562" y="1484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1DA68C81-6370-4929-9E40-4B62058E5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07988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0191F92-08DB-4DEE-96E6-3FE06F36E1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295775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B6FA55-510D-4CD5-8871-DF9908F3A59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8183562" y="3897313"/>
            <a:ext cx="36004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142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2706">
          <p15:clr>
            <a:srgbClr val="FBAE40"/>
          </p15:clr>
        </p15:guide>
        <p15:guide id="3" pos="2525">
          <p15:clr>
            <a:srgbClr val="FBAE40"/>
          </p15:clr>
        </p15:guide>
        <p15:guide id="4" pos="4974">
          <p15:clr>
            <a:srgbClr val="FBAE40"/>
          </p15:clr>
        </p15:guide>
        <p15:guide id="5" pos="5155">
          <p15:clr>
            <a:srgbClr val="FBAE40"/>
          </p15:clr>
        </p15:guide>
        <p15:guide id="6" orient="horz" pos="2273">
          <p15:clr>
            <a:srgbClr val="FBAE40"/>
          </p15:clr>
        </p15:guide>
        <p15:guide id="7" orient="horz" pos="245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462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0462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0462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240463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3901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4800" y="1484313"/>
            <a:ext cx="7489212" cy="2462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94800" y="1783434"/>
            <a:ext cx="7489212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294800" y="5882889"/>
            <a:ext cx="7489212" cy="138499"/>
          </a:xfrm>
        </p:spPr>
        <p:txBody>
          <a:bodyPr wrap="square"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294800" y="2082800"/>
            <a:ext cx="7489212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100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240462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7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017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468F67D7-664E-4CA1-8395-1E99AE6C0D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40462" y="1484313"/>
            <a:ext cx="5543550" cy="2462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2394B7C-326B-4E62-BBFB-20BDD2D3BD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462" y="1783434"/>
            <a:ext cx="5543550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7315-1508-4F8E-AF03-72D38603D7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40462" y="5882889"/>
            <a:ext cx="5543550" cy="138499"/>
          </a:xfrm>
        </p:spPr>
        <p:txBody>
          <a:bodyPr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18" name="Diagrammplatzhalter 2">
            <a:extLst>
              <a:ext uri="{FF2B5EF4-FFF2-40B4-BE49-F238E27FC236}">
                <a16:creationId xmlns:a16="http://schemas.microsoft.com/office/drawing/2014/main" id="{C921FA15-D6B9-45D1-B2C6-D0A7FBD510A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0462" y="2082800"/>
            <a:ext cx="5543550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3040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7" y="1484313"/>
            <a:ext cx="11376026" cy="2462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Diagrammtitel durch Klicken bearbeit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D704462-1E8B-4A5C-8D73-E22CD88311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07987" y="1783434"/>
            <a:ext cx="11376026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 durch Klicken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098367E-CDCF-4D76-AD3A-3DE658F0D6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7988" y="5882889"/>
            <a:ext cx="11376026" cy="138499"/>
          </a:xfrm>
        </p:spPr>
        <p:txBody>
          <a:bodyPr wrap="square" anchor="b" anchorCtr="0">
            <a:spAutoFit/>
          </a:bodyPr>
          <a:lstStyle>
            <a:lvl1pPr>
              <a:defRPr sz="9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Quellenangabe durch Klicken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6AB78E9C-6B5B-4EEB-A9AC-E301E93B920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407987" y="2082800"/>
            <a:ext cx="11376026" cy="3705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3450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DE0D70-570A-46FB-B7B9-1F84EBF4756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28CD76-E68F-4C49-935E-16FFD2F0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47FABA-2EF0-410C-99FF-EBBA8011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965CE5-8329-4109-9433-1622915F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1067C31-1A30-4887-A2C8-A35DFA05F3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</p:spTree>
    <p:extLst>
      <p:ext uri="{BB962C8B-B14F-4D97-AF65-F5344CB8AC3E}">
        <p14:creationId xmlns:p14="http://schemas.microsoft.com/office/powerpoint/2010/main" val="1123579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8BC072-E656-49C7-9863-F88AA3A7C8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476250"/>
            <a:ext cx="7640007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7E1FDB-7749-4631-91C3-279B7497F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5845E7C-BEFE-4B8B-B1E5-C212E8E02E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183563" y="180000"/>
            <a:ext cx="3828436" cy="6489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F56FFC7-A665-45F4-B514-CC6172B418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97E650-784B-4989-85C0-6ECC1EF228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76390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17518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F33780-3FA7-4C26-8299-BF6362DBD3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11376025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3607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Wechs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8B42CCA-295C-41B8-8800-A4C80E0BD3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80000" y="179999"/>
            <a:ext cx="11832000" cy="648908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08647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2279650" y="1495600"/>
            <a:ext cx="3096000" cy="38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27688" y="1497494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27688" y="2311087"/>
            <a:ext cx="6156324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27688" y="1778290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212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2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e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07988" y="2246611"/>
            <a:ext cx="2094100" cy="2581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30076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DCE4AD0C-74C2-4546-9448-E579E680121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253164" y="2246611"/>
            <a:ext cx="2094100" cy="2581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B0F89D90-603D-4BEC-A92B-0CC9572A89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53164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E0C26BD-D4EF-42D7-B503-B1347E1FE1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75252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2976E3E-DD26-4111-A757-1EC243A2B2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53164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</p:spTree>
    <p:extLst>
      <p:ext uri="{BB962C8B-B14F-4D97-AF65-F5344CB8AC3E}">
        <p14:creationId xmlns:p14="http://schemas.microsoft.com/office/powerpoint/2010/main" val="1788906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74A85017-E04B-49DE-ADD0-EFE9D206BA9C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D1E16E3-7F0F-4915-AAF8-A4EB36BCE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933537" y="2909798"/>
            <a:ext cx="2324927" cy="139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116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08997412-C897-4AD9-A9CC-09F1BF58B312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64AAFC-9332-41C7-9D5D-0D8E0A3408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56000" y="4561200"/>
            <a:ext cx="6480000" cy="943200"/>
          </a:xfrm>
        </p:spPr>
        <p:txBody>
          <a:bodyPr anchor="b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C20B08-2920-49E0-A084-64E8BF172F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856000" y="5576400"/>
            <a:ext cx="6480000" cy="432000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5206586-87DA-4924-BB0E-31A6CA744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07585" y="3125107"/>
            <a:ext cx="137683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93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anzseitiges Wec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8B42CCA-295C-41B8-8800-A4C80E0BD3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80000" y="179999"/>
            <a:ext cx="11832000" cy="648908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75173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Keyvisual und grün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95B0D8C-11E7-4D75-8286-5C4DB53A2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0000" y="180000"/>
            <a:ext cx="11832000" cy="6489088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48B1841-01CE-4279-9287-D71C77AF46D6}"/>
              </a:ext>
            </a:extLst>
          </p:cNvPr>
          <p:cNvSpPr/>
          <p:nvPr userDrawn="1"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7841170" y="2402474"/>
            <a:ext cx="3577388" cy="1426574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7841170" y="3890357"/>
            <a:ext cx="3577388" cy="3006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8A420F65-EF73-4FA3-A317-809F62D2E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94474"/>
            <a:ext cx="3577388" cy="14400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7AE4B63-6DA4-4814-87E0-31E4CCFA01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0540" y="3126759"/>
            <a:ext cx="1350920" cy="6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801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ganzseitigem Wechsel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32C0B7B-CBE7-4E60-BE6D-6C54613583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79999" y="179999"/>
            <a:ext cx="11832000" cy="648908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4116CC9-D85E-4755-9690-EAEFC5338C7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5036775" y="2223000"/>
            <a:ext cx="6583774" cy="2412000"/>
          </a:xfrm>
          <a:custGeom>
            <a:avLst/>
            <a:gdLst>
              <a:gd name="connsiteX0" fmla="*/ 56127 w 6583774"/>
              <a:gd name="connsiteY0" fmla="*/ 0 h 2412000"/>
              <a:gd name="connsiteX1" fmla="*/ 6527647 w 6583774"/>
              <a:gd name="connsiteY1" fmla="*/ 0 h 2412000"/>
              <a:gd name="connsiteX2" fmla="*/ 6583774 w 6583774"/>
              <a:gd name="connsiteY2" fmla="*/ 56127 h 2412000"/>
              <a:gd name="connsiteX3" fmla="*/ 6583774 w 6583774"/>
              <a:gd name="connsiteY3" fmla="*/ 2355873 h 2412000"/>
              <a:gd name="connsiteX4" fmla="*/ 6527647 w 6583774"/>
              <a:gd name="connsiteY4" fmla="*/ 2412000 h 2412000"/>
              <a:gd name="connsiteX5" fmla="*/ 56127 w 6583774"/>
              <a:gd name="connsiteY5" fmla="*/ 2412000 h 2412000"/>
              <a:gd name="connsiteX6" fmla="*/ 0 w 6583774"/>
              <a:gd name="connsiteY6" fmla="*/ 2355873 h 2412000"/>
              <a:gd name="connsiteX7" fmla="*/ 0 w 6583774"/>
              <a:gd name="connsiteY7" fmla="*/ 56127 h 2412000"/>
              <a:gd name="connsiteX8" fmla="*/ 56127 w 6583774"/>
              <a:gd name="connsiteY8" fmla="*/ 0 h 24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774" h="2412000">
                <a:moveTo>
                  <a:pt x="56127" y="0"/>
                </a:moveTo>
                <a:lnTo>
                  <a:pt x="6527647" y="0"/>
                </a:lnTo>
                <a:cubicBezTo>
                  <a:pt x="6558645" y="0"/>
                  <a:pt x="6583774" y="25129"/>
                  <a:pt x="6583774" y="56127"/>
                </a:cubicBezTo>
                <a:lnTo>
                  <a:pt x="6583774" y="2355873"/>
                </a:lnTo>
                <a:cubicBezTo>
                  <a:pt x="6583774" y="2386871"/>
                  <a:pt x="6558645" y="2412000"/>
                  <a:pt x="6527647" y="2412000"/>
                </a:cubicBezTo>
                <a:lnTo>
                  <a:pt x="56127" y="2412000"/>
                </a:lnTo>
                <a:cubicBezTo>
                  <a:pt x="25129" y="2412000"/>
                  <a:pt x="0" y="2386871"/>
                  <a:pt x="0" y="2355873"/>
                </a:cubicBezTo>
                <a:lnTo>
                  <a:pt x="0" y="56127"/>
                </a:lnTo>
                <a:cubicBezTo>
                  <a:pt x="0" y="25129"/>
                  <a:pt x="25129" y="0"/>
                  <a:pt x="56127" y="0"/>
                </a:cubicBezTo>
                <a:close/>
              </a:path>
            </a:pathLst>
          </a:custGeom>
          <a:gradFill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8900000" scaled="1"/>
          </a:gradFill>
        </p:spPr>
        <p:txBody>
          <a:bodyPr vert="horz" lIns="0" tIns="0" rIns="0" bIns="0" rtlCol="0" anchor="b">
            <a:noAutofit/>
          </a:bodyPr>
          <a:lstStyle>
            <a:lvl1pPr>
              <a:defRPr lang="de-DE" sz="1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3E7ACC9E-4A0A-44D3-B347-6BE8505BB8A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841170" y="2402474"/>
            <a:ext cx="3577388" cy="1426574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F6CFB820-E971-41C8-A458-280EAF2776D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841170" y="3890356"/>
            <a:ext cx="3577388" cy="3006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625B69D-1C6C-4A59-AFC6-2CE4610E11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41170" y="4294474"/>
            <a:ext cx="3577388" cy="14400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91C636A-A024-4B1C-AE6D-007879181D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420540" y="3128400"/>
            <a:ext cx="1350920" cy="65354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5885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er 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461CAF6-E57B-49ED-8AE4-9A59F2D906E1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D85246-262F-43D5-B7CF-2ADBC032F690}"/>
              </a:ext>
            </a:extLst>
          </p:cNvPr>
          <p:cNvSpPr>
            <a:spLocks noGrp="1"/>
          </p:cNvSpPr>
          <p:nvPr userDrawn="1">
            <p:ph type="ctrTitle"/>
          </p:nvPr>
        </p:nvSpPr>
        <p:spPr bwMode="gray">
          <a:xfrm>
            <a:off x="2856000" y="4562475"/>
            <a:ext cx="6480000" cy="943537"/>
          </a:xfrm>
        </p:spPr>
        <p:txBody>
          <a:bodyPr anchor="b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C174046-DE2F-40C3-9134-E5CB7E2B17C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2856000" y="5578013"/>
            <a:ext cx="6480000" cy="451161"/>
          </a:xfrm>
        </p:spPr>
        <p:txBody>
          <a:bodyPr vert="horz" lIns="0" tIns="0" rIns="0" bIns="0" rtlCol="0" anchor="t">
            <a:noAutofit/>
          </a:bodyPr>
          <a:lstStyle>
            <a:lvl1pPr algn="ctr"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B642990-DDA4-4D18-9EBD-00481549E0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856000" y="6208999"/>
            <a:ext cx="6480000" cy="144000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;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59CFCD8-EDD0-41D0-9FBA-2E678701F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0540" y="3126759"/>
            <a:ext cx="1350920" cy="6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63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951A6BF-4640-404B-98E4-9664BA75A760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0959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2711450" y="1484313"/>
            <a:ext cx="6769100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38853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2711450" y="1484313"/>
            <a:ext cx="6769100" cy="45370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9592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A0C644-86ED-4712-94E0-358633E0AF77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>
          <a:xfrm>
            <a:off x="407988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FABB8503-4ED7-49EE-B96C-ABC89BDED04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6240464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31716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8F13F25-B426-4F54-8989-A7ABC8A1A8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407986" y="1484313"/>
            <a:ext cx="5544014" cy="357187"/>
          </a:xfrm>
        </p:spPr>
        <p:txBody>
          <a:bodyPr/>
          <a:lstStyle>
            <a:lvl1pPr>
              <a:defRPr b="0" i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C301D7F-2AC1-4358-9425-BD3C810FFB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6240000" y="1484313"/>
            <a:ext cx="5544014" cy="357187"/>
          </a:xfrm>
        </p:spPr>
        <p:txBody>
          <a:bodyPr/>
          <a:lstStyle>
            <a:lvl1pPr>
              <a:defRPr b="0" i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F7A17322-E1CE-4348-919D-2122BA512A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49C69E-8B55-463E-B7DE-518BB679A64A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407986" y="1841500"/>
            <a:ext cx="5544014" cy="41798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2658042-18D5-40DC-9609-D5EC54F7AFFB}"/>
              </a:ext>
            </a:extLst>
          </p:cNvPr>
          <p:cNvSpPr>
            <a:spLocks noGrp="1"/>
          </p:cNvSpPr>
          <p:nvPr>
            <p:ph sz="quarter" idx="22"/>
          </p:nvPr>
        </p:nvSpPr>
        <p:spPr bwMode="gray">
          <a:xfrm>
            <a:off x="6240000" y="1841500"/>
            <a:ext cx="5544014" cy="41798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9758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A0C644-86ED-4712-94E0-358633E0AF77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>
          <a:xfrm>
            <a:off x="407988" y="1484313"/>
            <a:ext cx="5543550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FABB8503-4ED7-49EE-B96C-ABC89BDED04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6240464" y="1484313"/>
            <a:ext cx="5543550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E2A0392-EA81-46ED-A71F-B956853645F3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07988" y="3896851"/>
            <a:ext cx="5543550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E1D0086-5414-4B2D-AAF0-50D550D19242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6240464" y="3896851"/>
            <a:ext cx="5543550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06542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orient="horz" pos="2273">
          <p15:clr>
            <a:srgbClr val="FBAE40"/>
          </p15:clr>
        </p15:guide>
        <p15:guide id="5" orient="horz" pos="24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A0C644-86ED-4712-94E0-358633E0AF77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>
          <a:xfrm>
            <a:off x="407989" y="1484313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FABB8503-4ED7-49EE-B96C-ABC89BDED044}"/>
              </a:ext>
            </a:extLst>
          </p:cNvPr>
          <p:cNvSpPr>
            <a:spLocks noGrp="1"/>
          </p:cNvSpPr>
          <p:nvPr>
            <p:ph sz="quarter" idx="19"/>
          </p:nvPr>
        </p:nvSpPr>
        <p:spPr bwMode="gray">
          <a:xfrm>
            <a:off x="8184006" y="1484313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E2A0392-EA81-46ED-A71F-B956853645F3}"/>
              </a:ext>
            </a:extLst>
          </p:cNvPr>
          <p:cNvSpPr>
            <a:spLocks noGrp="1"/>
          </p:cNvSpPr>
          <p:nvPr>
            <p:ph sz="quarter" idx="20"/>
          </p:nvPr>
        </p:nvSpPr>
        <p:spPr bwMode="gray">
          <a:xfrm>
            <a:off x="407989" y="3896851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E1D0086-5414-4B2D-AAF0-50D550D19242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8184006" y="3896851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3EB0E57-57F4-4D6A-B09F-B86F4B006349}"/>
              </a:ext>
            </a:extLst>
          </p:cNvPr>
          <p:cNvSpPr>
            <a:spLocks noGrp="1"/>
          </p:cNvSpPr>
          <p:nvPr>
            <p:ph sz="quarter" idx="22"/>
          </p:nvPr>
        </p:nvSpPr>
        <p:spPr bwMode="gray">
          <a:xfrm>
            <a:off x="4295997" y="1484313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3060001C-B3F6-42F4-A24F-4C7C6F2B20E6}"/>
              </a:ext>
            </a:extLst>
          </p:cNvPr>
          <p:cNvSpPr>
            <a:spLocks noGrp="1"/>
          </p:cNvSpPr>
          <p:nvPr>
            <p:ph sz="quarter" idx="23"/>
          </p:nvPr>
        </p:nvSpPr>
        <p:spPr bwMode="gray">
          <a:xfrm>
            <a:off x="4295997" y="3896851"/>
            <a:ext cx="3600009" cy="2124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6262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2706">
          <p15:clr>
            <a:srgbClr val="FBAE40"/>
          </p15:clr>
        </p15:guide>
        <p15:guide id="3" pos="2525">
          <p15:clr>
            <a:srgbClr val="FBAE40"/>
          </p15:clr>
        </p15:guide>
        <p15:guide id="4" pos="4974">
          <p15:clr>
            <a:srgbClr val="FBAE40"/>
          </p15:clr>
        </p15:guide>
        <p15:guide id="5" pos="5155">
          <p15:clr>
            <a:srgbClr val="FBAE40"/>
          </p15:clr>
        </p15:guide>
        <p15:guide id="6" orient="horz" pos="2273">
          <p15:clr>
            <a:srgbClr val="FBAE40"/>
          </p15:clr>
        </p15:guide>
        <p15:guide id="7" orient="horz" pos="245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DE0D70-570A-46FB-B7B9-1F84EBF4756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28CD76-E68F-4C49-935E-16FFD2F0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47FABA-2EF0-410C-99FF-EBBA8011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965CE5-8329-4109-9433-1622915F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1067C31-1A30-4887-A2C8-A35DFA05F3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</p:spTree>
    <p:extLst>
      <p:ext uri="{BB962C8B-B14F-4D97-AF65-F5344CB8AC3E}">
        <p14:creationId xmlns:p14="http://schemas.microsoft.com/office/powerpoint/2010/main" val="1170020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8BC072-E656-49C7-9863-F88AA3A7C8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476250"/>
            <a:ext cx="7640007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7E1FDB-7749-4631-91C3-279B7497F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5845E7C-BEFE-4B8B-B1E5-C212E8E02E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183563" y="180000"/>
            <a:ext cx="3828436" cy="6489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F56FFC7-A665-45F4-B514-CC6172B418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7" y="196057"/>
            <a:ext cx="7639200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E226B35-8A0D-4CFE-BB8E-9C3C6B63823A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>
          <a:xfrm>
            <a:off x="407988" y="1484313"/>
            <a:ext cx="76390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27824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Wec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8B42CCA-295C-41B8-8800-A4C80E0BD3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80000" y="179999"/>
            <a:ext cx="11832000" cy="648908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69582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2279650" y="1495600"/>
            <a:ext cx="3096000" cy="3816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27688" y="1497494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27688" y="2311087"/>
            <a:ext cx="6156324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27688" y="1778290"/>
            <a:ext cx="6156324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Funktion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2543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2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EA37DC4-4685-46C1-9660-8D7BE7405B23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5841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035F89-C815-452D-86D6-11B6380FC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Ihre Ansprechpartner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BC6DEE-E78F-4013-A76C-072F2E7149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07988" y="2246611"/>
            <a:ext cx="2094100" cy="25811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A9CF6F3-25FB-4A1D-BE03-A727BC336A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9A3CB98-9CC2-486C-B9F4-96687E5A45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30076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42AB6C4-F54F-4A9D-9851-0E338AA92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80BFD8-8BC6-4E11-88F1-696D56CAC5D6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E00360-8595-4DA4-BB5E-5685D5F7F0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912ED-2275-407D-8775-BA6E1486A1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DCE4AD0C-74C2-4546-9448-E579E680121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253164" y="2246611"/>
            <a:ext cx="2094100" cy="25811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B0F89D90-603D-4BEC-A92B-0CC9572A89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53164" y="1497494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Name</a:t>
            </a:r>
          </a:p>
          <a:p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E0C26BD-D4EF-42D7-B503-B1347E1FE1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75252" y="2246611"/>
            <a:ext cx="3221462" cy="12453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de-DE" sz="1200" dirty="0"/>
              <a:t>Tel</a:t>
            </a:r>
          </a:p>
          <a:p>
            <a:r>
              <a:rPr lang="de-DE" sz="1200" dirty="0"/>
              <a:t>Mail</a:t>
            </a:r>
          </a:p>
          <a:p>
            <a:r>
              <a:rPr lang="de-DE" sz="1200" dirty="0"/>
              <a:t>Adresse</a:t>
            </a:r>
            <a:endParaRPr lang="de-DE" dirty="0"/>
          </a:p>
          <a:p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2976E3E-DD26-4111-A757-1EC243A2B2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53164" y="1778290"/>
            <a:ext cx="5543550" cy="25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 sz="1600" dirty="0"/>
              <a:t>Funktion</a:t>
            </a:r>
          </a:p>
        </p:txBody>
      </p:sp>
    </p:spTree>
    <p:extLst>
      <p:ext uri="{BB962C8B-B14F-4D97-AF65-F5344CB8AC3E}">
        <p14:creationId xmlns:p14="http://schemas.microsoft.com/office/powerpoint/2010/main" val="257022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07987" y="1484313"/>
            <a:ext cx="11376025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4399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74A85017-E04B-49DE-ADD0-EFE9D206BA9C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B969523-B98A-45C7-B343-1A5682CA69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90001" y="2910178"/>
            <a:ext cx="2411998" cy="139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24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08997412-C897-4AD9-A9CC-09F1BF58B312}"/>
              </a:ext>
            </a:extLst>
          </p:cNvPr>
          <p:cNvSpPr/>
          <p:nvPr userDrawn="1"/>
        </p:nvSpPr>
        <p:spPr bwMode="gray">
          <a:xfrm>
            <a:off x="180000" y="180000"/>
            <a:ext cx="11832000" cy="6498000"/>
          </a:xfrm>
          <a:prstGeom prst="rect">
            <a:avLst/>
          </a:prstGeom>
          <a:gradFill flip="none" rotWithShape="1">
            <a:gsLst>
              <a:gs pos="10000">
                <a:schemeClr val="accent3"/>
              </a:gs>
              <a:gs pos="80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64AAFC-9332-41C7-9D5D-0D8E0A34086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856000" y="4561200"/>
            <a:ext cx="6480000" cy="943200"/>
          </a:xfrm>
        </p:spPr>
        <p:txBody>
          <a:bodyPr anchor="b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C20B08-2920-49E0-A084-64E8BF172F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856000" y="5576400"/>
            <a:ext cx="6480000" cy="432000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616E90-D450-43C9-B8ED-51108EA2D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0540" y="3126759"/>
            <a:ext cx="1350920" cy="6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20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3939C4-42A4-4808-8C79-7DF86E4E1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BABB3DB-974B-4D44-93EB-E792C42866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BEAA54-AE27-4DA1-AE71-02FEA19565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44BA3B6-EF83-4D81-9C98-85209ACE0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CEA8AC-F979-43AE-89B8-007D02B04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ERN │ Name, Abteilu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0BE896-7166-4C3B-85CA-A4BA2A2F8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85977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4C978D-C154-4552-B457-B263FA6573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8929F5-4366-4409-9C95-8BFBACB65B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07987" y="1484313"/>
            <a:ext cx="11376025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041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anzseitiges Wechs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8B42CCA-295C-41B8-8800-A4C80E0BD3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180000" y="179999"/>
            <a:ext cx="11832000" cy="648908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1706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40462" y="1484313"/>
            <a:ext cx="55435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76861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328BD8-6080-47D2-94F2-E0EF3F21EE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89743B0-6E76-4AA3-990B-73C20E6377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4295775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C0FAE760-4F4A-4ACE-BC08-FA04ABFE8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8183562" y="148431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6092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6AF234A-E64A-4F93-A091-8A45263D6E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F7080B3-F3B4-42F1-BF14-94540E0D390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FCC8CAD-A211-4F73-AA09-CC3EFEE4A5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Company Fit, bKV Budgettarif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CCF97F-4B90-42DA-B21E-2EAC39F765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3C45283-5BD2-4DC4-84C0-56D6448033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196057"/>
            <a:ext cx="7488238" cy="144000"/>
          </a:xfrm>
        </p:spPr>
        <p:txBody>
          <a:bodyPr anchor="t"/>
          <a:lstStyle>
            <a:lvl1pPr>
              <a:lnSpc>
                <a:spcPct val="90000"/>
              </a:lnSpc>
              <a:defRPr sz="12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hema der Foli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039EC8C1-C6D4-4281-8E57-CC2F4359F2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07988" y="1484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2420A9F-2E56-4919-834B-320EEDD304A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40462" y="1484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48CCEFC0-4D9A-4B96-BFE8-65BB705ED7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407988" y="3897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E967D63-261C-4D71-8925-BF8301A93F2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40462" y="3897313"/>
            <a:ext cx="5543550" cy="2124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389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9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  <p15:guide id="4" orient="horz" pos="2273" userDrawn="1">
          <p15:clr>
            <a:srgbClr val="FBAE40"/>
          </p15:clr>
        </p15:guide>
        <p15:guide id="5" orient="horz" pos="245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85C35AA-2CDA-8CDB-C50B-ECF5DA7B22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5280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C5A361-D4D9-4D3E-BE7C-84894C5C70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C37112-57D2-4C6C-9A55-769412D176D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7" y="1484313"/>
            <a:ext cx="11376025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271DB-EEEA-41F6-B3D6-2A2B16BAB0E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229956" y="6546778"/>
            <a:ext cx="1011237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DBD589-3779-425D-BE2C-B82FE5D11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7987" y="6546778"/>
            <a:ext cx="4680000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r>
              <a:rPr lang="de-DE"/>
              <a:t>Company Fit, bKV Budgettarif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C71AE6-9865-4EB2-B33B-FB6FD69C22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13319" y="6546778"/>
            <a:ext cx="470693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ED4E6F2-AEF3-429C-9FE1-94FF3DD65350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61013" y="6238579"/>
            <a:ext cx="869975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6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9" r:id="rId2"/>
    <p:sldLayoutId id="2147483670" r:id="rId3"/>
    <p:sldLayoutId id="2147483652" r:id="rId4"/>
    <p:sldLayoutId id="2147483673" r:id="rId5"/>
    <p:sldLayoutId id="2147483678" r:id="rId6"/>
    <p:sldLayoutId id="2147483659" r:id="rId7"/>
    <p:sldLayoutId id="2147483677" r:id="rId8"/>
    <p:sldLayoutId id="2147483674" r:id="rId9"/>
    <p:sldLayoutId id="2147483675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62" r:id="rId16"/>
    <p:sldLayoutId id="2147483665" r:id="rId17"/>
    <p:sldLayoutId id="2147483667" r:id="rId18"/>
    <p:sldLayoutId id="2147483666" r:id="rId19"/>
    <p:sldLayoutId id="2147483676" r:id="rId20"/>
    <p:sldLayoutId id="2147483657" r:id="rId21"/>
    <p:sldLayoutId id="2147483651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4201" userDrawn="1">
          <p15:clr>
            <a:srgbClr val="F26B43"/>
          </p15:clr>
        </p15:guide>
        <p15:guide id="8" orient="horz" pos="2273" userDrawn="1">
          <p15:clr>
            <a:srgbClr val="F26B43"/>
          </p15:clr>
        </p15:guide>
        <p15:guide id="9" orient="horz" pos="2455" userDrawn="1">
          <p15:clr>
            <a:srgbClr val="F26B43"/>
          </p15:clr>
        </p15:guide>
        <p15:guide id="10" pos="2525" userDrawn="1">
          <p15:clr>
            <a:srgbClr val="F26B43"/>
          </p15:clr>
        </p15:guide>
        <p15:guide id="11" pos="2706" userDrawn="1">
          <p15:clr>
            <a:srgbClr val="F26B43"/>
          </p15:clr>
        </p15:guide>
        <p15:guide id="12" pos="3749" userDrawn="1">
          <p15:clr>
            <a:srgbClr val="F26B43"/>
          </p15:clr>
        </p15:guide>
        <p15:guide id="13" pos="3931" userDrawn="1">
          <p15:clr>
            <a:srgbClr val="F26B43"/>
          </p15:clr>
        </p15:guide>
        <p15:guide id="14" pos="4974" userDrawn="1">
          <p15:clr>
            <a:srgbClr val="F26B43"/>
          </p15:clr>
        </p15:guide>
        <p15:guide id="15" pos="515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A96CBD8-F7F2-2ECE-5EB9-0A2EDE54E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68830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44" imgH="345" progId="TCLayout.ActiveDocument.1">
                  <p:embed/>
                </p:oleObj>
              </mc:Choice>
              <mc:Fallback>
                <p:oleObj name="think-cell Folie" r:id="rId26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A96CBD8-F7F2-2ECE-5EB9-0A2EDE54ED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C5A361-D4D9-4D3E-BE7C-84894C5C70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C37112-57D2-4C6C-9A55-769412D176D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7" y="1484313"/>
            <a:ext cx="11376025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271DB-EEEA-41F6-B3D6-2A2B16BAB0E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229956" y="6546778"/>
            <a:ext cx="1011237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DBD589-3779-425D-BE2C-B82FE5D11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7987" y="6546778"/>
            <a:ext cx="4680000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r>
              <a:rPr lang="de-DE"/>
              <a:t>INTERN │ Name, Abteilun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C71AE6-9865-4EB2-B33B-FB6FD69C22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13319" y="6546778"/>
            <a:ext cx="470693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4"/>
                </a:solidFill>
              </a:defRPr>
            </a:lvl1pPr>
          </a:lstStyle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ED4E6F2-AEF3-429C-9FE1-94FF3DD65350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61013" y="6238579"/>
            <a:ext cx="869975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387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935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4201">
          <p15:clr>
            <a:srgbClr val="F26B43"/>
          </p15:clr>
        </p15:guide>
        <p15:guide id="8" orient="horz" pos="2273">
          <p15:clr>
            <a:srgbClr val="F26B43"/>
          </p15:clr>
        </p15:guide>
        <p15:guide id="9" orient="horz" pos="2455">
          <p15:clr>
            <a:srgbClr val="F26B43"/>
          </p15:clr>
        </p15:guide>
        <p15:guide id="10" pos="2525">
          <p15:clr>
            <a:srgbClr val="F26B43"/>
          </p15:clr>
        </p15:guide>
        <p15:guide id="11" pos="2706">
          <p15:clr>
            <a:srgbClr val="F26B43"/>
          </p15:clr>
        </p15:guide>
        <p15:guide id="12" pos="3749">
          <p15:clr>
            <a:srgbClr val="F26B43"/>
          </p15:clr>
        </p15:guide>
        <p15:guide id="13" pos="3931">
          <p15:clr>
            <a:srgbClr val="F26B43"/>
          </p15:clr>
        </p15:guide>
        <p15:guide id="14" pos="4974">
          <p15:clr>
            <a:srgbClr val="F26B43"/>
          </p15:clr>
        </p15:guide>
        <p15:guide id="15" pos="515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C5A361-D4D9-4D3E-BE7C-84894C5C70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76250"/>
            <a:ext cx="11376025" cy="7127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C37112-57D2-4C6C-9A55-769412D176D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7" y="1484313"/>
            <a:ext cx="11376025" cy="45402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271DB-EEEA-41F6-B3D6-2A2B16BAB0E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229956" y="6546778"/>
            <a:ext cx="1011237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5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DBD589-3779-425D-BE2C-B82FE5D11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7987" y="6546778"/>
            <a:ext cx="4680000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accent5"/>
                </a:solidFill>
              </a:defRPr>
            </a:lvl1pPr>
          </a:lstStyle>
          <a:p>
            <a:r>
              <a:rPr lang="de-DE"/>
              <a:t>INTERN │ Name, Abteilu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C71AE6-9865-4EB2-B33B-FB6FD69C22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13319" y="6546778"/>
            <a:ext cx="470693" cy="11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5"/>
                </a:solidFill>
              </a:defRPr>
            </a:lvl1pPr>
          </a:lstStyle>
          <a:p>
            <a:fld id="{77D899ED-E07B-4111-BFEA-7E6553FCF2C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2BBF057-86C2-471F-8CB9-0353DA9B6246}"/>
              </a:ext>
            </a:extLst>
          </p:cNvPr>
          <p:cNvCxnSpPr/>
          <p:nvPr/>
        </p:nvCxnSpPr>
        <p:spPr bwMode="gray">
          <a:xfrm>
            <a:off x="408969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5BCBB2F-21DD-4A3B-A5FB-C7310EF6E20B}"/>
              </a:ext>
            </a:extLst>
          </p:cNvPr>
          <p:cNvCxnSpPr/>
          <p:nvPr/>
        </p:nvCxnSpPr>
        <p:spPr bwMode="gray">
          <a:xfrm>
            <a:off x="4295775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BD9FCDF-8327-4FAA-BC33-499D4A71ADD5}"/>
              </a:ext>
            </a:extLst>
          </p:cNvPr>
          <p:cNvCxnSpPr/>
          <p:nvPr/>
        </p:nvCxnSpPr>
        <p:spPr bwMode="gray">
          <a:xfrm>
            <a:off x="4008438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6C7661C-1B42-455C-986C-25C5B19BCA95}"/>
              </a:ext>
            </a:extLst>
          </p:cNvPr>
          <p:cNvCxnSpPr/>
          <p:nvPr/>
        </p:nvCxnSpPr>
        <p:spPr bwMode="gray">
          <a:xfrm>
            <a:off x="6242050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6F5594D-586C-4E5A-8F4E-268A57FFFCF4}"/>
              </a:ext>
            </a:extLst>
          </p:cNvPr>
          <p:cNvCxnSpPr/>
          <p:nvPr/>
        </p:nvCxnSpPr>
        <p:spPr bwMode="gray">
          <a:xfrm>
            <a:off x="5954713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1AB1D243-D401-4A7A-B058-A1B9B5B5A08F}"/>
              </a:ext>
            </a:extLst>
          </p:cNvPr>
          <p:cNvCxnSpPr/>
          <p:nvPr/>
        </p:nvCxnSpPr>
        <p:spPr bwMode="gray">
          <a:xfrm>
            <a:off x="8185150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050B6D-1C2A-46A1-BECE-3208E3D3457D}"/>
              </a:ext>
            </a:extLst>
          </p:cNvPr>
          <p:cNvCxnSpPr/>
          <p:nvPr/>
        </p:nvCxnSpPr>
        <p:spPr bwMode="gray">
          <a:xfrm>
            <a:off x="7897813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24BE108C-57B5-4CDC-A83F-2452408B5ED3}"/>
              </a:ext>
            </a:extLst>
          </p:cNvPr>
          <p:cNvCxnSpPr/>
          <p:nvPr/>
        </p:nvCxnSpPr>
        <p:spPr bwMode="gray">
          <a:xfrm>
            <a:off x="11784807" y="-11430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7610554-C275-443F-86E2-74AE53250596}"/>
              </a:ext>
            </a:extLst>
          </p:cNvPr>
          <p:cNvCxnSpPr/>
          <p:nvPr/>
        </p:nvCxnSpPr>
        <p:spPr bwMode="gray">
          <a:xfrm>
            <a:off x="408969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D42BACF2-1148-48C4-8E01-9F7B38B4C025}"/>
              </a:ext>
            </a:extLst>
          </p:cNvPr>
          <p:cNvCxnSpPr/>
          <p:nvPr/>
        </p:nvCxnSpPr>
        <p:spPr bwMode="gray">
          <a:xfrm>
            <a:off x="4295775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80C760-95DC-487B-867A-F341AED92F5C}"/>
              </a:ext>
            </a:extLst>
          </p:cNvPr>
          <p:cNvCxnSpPr/>
          <p:nvPr/>
        </p:nvCxnSpPr>
        <p:spPr bwMode="gray">
          <a:xfrm>
            <a:off x="4008438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F3EBC26-864F-4463-838C-2AF9D5F0A0E3}"/>
              </a:ext>
            </a:extLst>
          </p:cNvPr>
          <p:cNvCxnSpPr/>
          <p:nvPr/>
        </p:nvCxnSpPr>
        <p:spPr bwMode="gray">
          <a:xfrm>
            <a:off x="6242050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5CF2C8A-2C01-46D5-8354-B0030789DEA9}"/>
              </a:ext>
            </a:extLst>
          </p:cNvPr>
          <p:cNvCxnSpPr/>
          <p:nvPr/>
        </p:nvCxnSpPr>
        <p:spPr bwMode="gray">
          <a:xfrm>
            <a:off x="5954713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C756C4AD-BA60-4AE2-A7AA-8C5A57B38793}"/>
              </a:ext>
            </a:extLst>
          </p:cNvPr>
          <p:cNvCxnSpPr/>
          <p:nvPr/>
        </p:nvCxnSpPr>
        <p:spPr bwMode="gray">
          <a:xfrm>
            <a:off x="8185150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E01C45A-A215-466F-B7C9-FB7886BB2E86}"/>
              </a:ext>
            </a:extLst>
          </p:cNvPr>
          <p:cNvCxnSpPr/>
          <p:nvPr/>
        </p:nvCxnSpPr>
        <p:spPr bwMode="gray">
          <a:xfrm>
            <a:off x="7897813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0AAC9-63B0-498B-B5BF-267685B53B89}"/>
              </a:ext>
            </a:extLst>
          </p:cNvPr>
          <p:cNvCxnSpPr/>
          <p:nvPr/>
        </p:nvCxnSpPr>
        <p:spPr bwMode="gray">
          <a:xfrm>
            <a:off x="11784807" y="6907920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CD03EF0-94AF-403E-8159-543BF735687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441325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CF37D33-84D4-48BD-8E9E-40AEC20B64B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1449388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F7C297DE-70F6-4254-A6A4-88D77E896BA8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3571876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2303977-775D-4B5E-9F78-576BB03F628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3862389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912BB48-BCBC-4195-9937-7FBDC273582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5986464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0028A80F-9DB9-4761-8528-7A5F2DA28216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86331" y="6634164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83524D26-E9D7-4375-9407-1BD0108BBD00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441325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64F4FF4-E4F9-4C6F-B6E3-7B076C438711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1449388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2426945-77A2-44EB-83E5-281C2AC30520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3571876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D9FB618-EA0C-48B9-B5F9-85F89CB5572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3862389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F2C13E2-7590-4541-BA4E-E94E9231D2CC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5986464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B442611-A2A2-478B-B6D3-9BFAC00C66B4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12268955" y="6634164"/>
            <a:ext cx="0" cy="72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>
            <a:extLst>
              <a:ext uri="{FF2B5EF4-FFF2-40B4-BE49-F238E27FC236}">
                <a16:creationId xmlns:a16="http://schemas.microsoft.com/office/drawing/2014/main" id="{F284B790-FF3C-48ED-A95B-70AABD01E5FE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65477" y="6236022"/>
            <a:ext cx="861046" cy="41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96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8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935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4201">
          <p15:clr>
            <a:srgbClr val="F26B43"/>
          </p15:clr>
        </p15:guide>
        <p15:guide id="8" orient="horz" pos="2273">
          <p15:clr>
            <a:srgbClr val="F26B43"/>
          </p15:clr>
        </p15:guide>
        <p15:guide id="9" orient="horz" pos="2455">
          <p15:clr>
            <a:srgbClr val="F26B43"/>
          </p15:clr>
        </p15:guide>
        <p15:guide id="10" pos="2525">
          <p15:clr>
            <a:srgbClr val="F26B43"/>
          </p15:clr>
        </p15:guide>
        <p15:guide id="11" pos="2706">
          <p15:clr>
            <a:srgbClr val="F26B43"/>
          </p15:clr>
        </p15:guide>
        <p15:guide id="12" pos="3749">
          <p15:clr>
            <a:srgbClr val="F26B43"/>
          </p15:clr>
        </p15:guide>
        <p15:guide id="13" pos="3931">
          <p15:clr>
            <a:srgbClr val="F26B43"/>
          </p15:clr>
        </p15:guide>
        <p15:guide id="14" pos="4974">
          <p15:clr>
            <a:srgbClr val="F26B43"/>
          </p15:clr>
        </p15:guide>
        <p15:guide id="15" pos="515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chart" Target="../charts/chart3.xml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png"/><Relationship Id="rId11" Type="http://schemas.openxmlformats.org/officeDocument/2006/relationships/image" Target="../media/image26.svg"/><Relationship Id="rId5" Type="http://schemas.openxmlformats.org/officeDocument/2006/relationships/image" Target="../media/image29.svg"/><Relationship Id="rId10" Type="http://schemas.openxmlformats.org/officeDocument/2006/relationships/image" Target="../media/image25.png"/><Relationship Id="rId4" Type="http://schemas.openxmlformats.org/officeDocument/2006/relationships/image" Target="../media/image28.png"/><Relationship Id="rId9" Type="http://schemas.openxmlformats.org/officeDocument/2006/relationships/image" Target="../media/image24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2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3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" Target="slide28.xml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8519A6-812B-3CB6-821C-05CDA6945790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7E68249-9501-5B08-C809-9799841C02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A1A747A6-5EFF-AF6A-A051-535BC1C638DD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5E99E76-1527-5410-1438-E74DB326A1EC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14E420B-F90E-1D9D-49E3-8E01FA872E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50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C3DF9975-738D-248E-D120-5A987479A2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88" y="416388"/>
            <a:ext cx="10752624" cy="60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15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230BB155-252F-AAE9-8DB7-B79A5E0E6111}"/>
              </a:ext>
            </a:extLst>
          </p:cNvPr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8D31C28-B495-6B55-73AD-0A77619D29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8D31C28-B495-6B55-73AD-0A77619D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3F022F7-6E89-4E34-8960-6ECACD0CEC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5486400" y="2951018"/>
            <a:ext cx="4810991" cy="3070370"/>
          </a:xfrm>
        </p:spPr>
        <p:txBody>
          <a:bodyPr/>
          <a:lstStyle/>
          <a:p>
            <a:pPr lvl="1"/>
            <a:r>
              <a:rPr lang="de-DE" dirty="0"/>
              <a:t>Die Interessen und Bedürfnisse Ihrer Mitarbeiter sind unterschiedlich – so auch beim Thema Gesundheit.</a:t>
            </a:r>
          </a:p>
          <a:p>
            <a:pPr lvl="1"/>
            <a:r>
              <a:rPr lang="de-DE" dirty="0"/>
              <a:t>Mit dem Budgettarif bieten Sie Ihren Mitarbeitern einen jährlichen Betrag, welchen sie beliebig für eine Vielzahl an Leistungen verwenden könn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90B4535-0093-7B25-AE6A-6FBFDEAAF4F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801" y="1859973"/>
            <a:ext cx="4055357" cy="4161415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43885FCE-9D00-2C19-A1D1-E0625418C768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Warum ein </a:t>
            </a:r>
            <a:r>
              <a:rPr lang="de-DE" sz="5400" b="1" dirty="0">
                <a:solidFill>
                  <a:schemeClr val="accent1"/>
                </a:solidFill>
              </a:rPr>
              <a:t>Budgettarif?</a:t>
            </a:r>
            <a:endParaRPr lang="de-DE" sz="5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064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94084703-C2CA-AE9D-7302-DFDE30C3CECB}"/>
              </a:ext>
            </a:extLst>
          </p:cNvPr>
          <p:cNvSpPr/>
          <p:nvPr/>
        </p:nvSpPr>
        <p:spPr bwMode="gray">
          <a:xfrm>
            <a:off x="195063" y="216457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8585F1-F298-E204-4CA1-615E7996D2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54113E8-741D-9D48-D9F7-D29D19EB48D2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Eine </a:t>
            </a:r>
            <a:r>
              <a:rPr lang="de-DE" sz="5400" b="1" dirty="0">
                <a:solidFill>
                  <a:schemeClr val="accent1"/>
                </a:solidFill>
              </a:rPr>
              <a:t>Vielzahl an Leistungen</a:t>
            </a:r>
          </a:p>
        </p:txBody>
      </p:sp>
      <p:graphicFrame>
        <p:nvGraphicFramePr>
          <p:cNvPr id="71" name="Diagramm 70">
            <a:extLst>
              <a:ext uri="{FF2B5EF4-FFF2-40B4-BE49-F238E27FC236}">
                <a16:creationId xmlns:a16="http://schemas.microsoft.com/office/drawing/2014/main" id="{3A64B6D9-A085-F60E-9991-E8B1AE2D52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961646"/>
              </p:ext>
            </p:extLst>
          </p:nvPr>
        </p:nvGraphicFramePr>
        <p:xfrm>
          <a:off x="4008595" y="2126458"/>
          <a:ext cx="4195336" cy="352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2" name="Grafik 51">
            <a:extLst>
              <a:ext uri="{FF2B5EF4-FFF2-40B4-BE49-F238E27FC236}">
                <a16:creationId xmlns:a16="http://schemas.microsoft.com/office/drawing/2014/main" id="{E5806784-AF55-A72E-7207-F32FA0C4CFF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09916" y="3471783"/>
            <a:ext cx="396000" cy="396000"/>
            <a:chOff x="3367087" y="700087"/>
            <a:chExt cx="5457825" cy="5457825"/>
          </a:xfrm>
          <a:solidFill>
            <a:schemeClr val="bg1"/>
          </a:solidFill>
        </p:grpSpPr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A1AD1A74-AB96-2EF7-96C0-CC3AC0334D50}"/>
                </a:ext>
              </a:extLst>
            </p:cNvPr>
            <p:cNvSpPr/>
            <p:nvPr/>
          </p:nvSpPr>
          <p:spPr bwMode="gray">
            <a:xfrm>
              <a:off x="5702522" y="700087"/>
              <a:ext cx="3114675" cy="3114675"/>
            </a:xfrm>
            <a:custGeom>
              <a:avLst/>
              <a:gdLst>
                <a:gd name="connsiteX0" fmla="*/ 2027206 w 3114675"/>
                <a:gd name="connsiteY0" fmla="*/ 1091565 h 3114675"/>
                <a:gd name="connsiteX1" fmla="*/ 2027206 w 3114675"/>
                <a:gd name="connsiteY1" fmla="*/ 0 h 3114675"/>
                <a:gd name="connsiteX2" fmla="*/ 1091565 w 3114675"/>
                <a:gd name="connsiteY2" fmla="*/ 0 h 3114675"/>
                <a:gd name="connsiteX3" fmla="*/ 1091565 w 3114675"/>
                <a:gd name="connsiteY3" fmla="*/ 1091565 h 3114675"/>
                <a:gd name="connsiteX4" fmla="*/ 0 w 3114675"/>
                <a:gd name="connsiteY4" fmla="*/ 1091565 h 3114675"/>
                <a:gd name="connsiteX5" fmla="*/ 0 w 3114675"/>
                <a:gd name="connsiteY5" fmla="*/ 2027206 h 3114675"/>
                <a:gd name="connsiteX6" fmla="*/ 1078897 w 3114675"/>
                <a:gd name="connsiteY6" fmla="*/ 2027206 h 3114675"/>
                <a:gd name="connsiteX7" fmla="*/ 1078897 w 3114675"/>
                <a:gd name="connsiteY7" fmla="*/ 3118771 h 3114675"/>
                <a:gd name="connsiteX8" fmla="*/ 2027206 w 3114675"/>
                <a:gd name="connsiteY8" fmla="*/ 3118771 h 3114675"/>
                <a:gd name="connsiteX9" fmla="*/ 2027206 w 3114675"/>
                <a:gd name="connsiteY9" fmla="*/ 2027206 h 3114675"/>
                <a:gd name="connsiteX10" fmla="*/ 3118771 w 3114675"/>
                <a:gd name="connsiteY10" fmla="*/ 2027206 h 3114675"/>
                <a:gd name="connsiteX11" fmla="*/ 3118771 w 3114675"/>
                <a:gd name="connsiteY11" fmla="*/ 109156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14675" h="3114675">
                  <a:moveTo>
                    <a:pt x="2027206" y="1091565"/>
                  </a:moveTo>
                  <a:lnTo>
                    <a:pt x="2027206" y="0"/>
                  </a:lnTo>
                  <a:lnTo>
                    <a:pt x="1091565" y="0"/>
                  </a:lnTo>
                  <a:lnTo>
                    <a:pt x="1091565" y="1091565"/>
                  </a:lnTo>
                  <a:lnTo>
                    <a:pt x="0" y="1091565"/>
                  </a:lnTo>
                  <a:lnTo>
                    <a:pt x="0" y="2027206"/>
                  </a:lnTo>
                  <a:lnTo>
                    <a:pt x="1078897" y="2027206"/>
                  </a:lnTo>
                  <a:lnTo>
                    <a:pt x="1078897" y="3118771"/>
                  </a:lnTo>
                  <a:lnTo>
                    <a:pt x="2027206" y="3118771"/>
                  </a:lnTo>
                  <a:lnTo>
                    <a:pt x="2027206" y="2027206"/>
                  </a:lnTo>
                  <a:lnTo>
                    <a:pt x="3118771" y="2027206"/>
                  </a:lnTo>
                  <a:lnTo>
                    <a:pt x="3118771" y="10915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360A5F41-8B85-6FD7-3E3A-C1BCEB6E4C5E}"/>
                </a:ext>
              </a:extLst>
            </p:cNvPr>
            <p:cNvSpPr/>
            <p:nvPr/>
          </p:nvSpPr>
          <p:spPr bwMode="gray">
            <a:xfrm>
              <a:off x="3367050" y="1883502"/>
              <a:ext cx="4000500" cy="4267200"/>
            </a:xfrm>
            <a:custGeom>
              <a:avLst/>
              <a:gdLst>
                <a:gd name="connsiteX0" fmla="*/ 3418751 w 4000500"/>
                <a:gd name="connsiteY0" fmla="*/ 3207610 h 4267200"/>
                <a:gd name="connsiteX1" fmla="*/ 3118237 w 4000500"/>
                <a:gd name="connsiteY1" fmla="*/ 3824830 h 4267200"/>
                <a:gd name="connsiteX2" fmla="*/ 2969456 w 4000500"/>
                <a:gd name="connsiteY2" fmla="*/ 3963037 h 4267200"/>
                <a:gd name="connsiteX3" fmla="*/ 2968980 w 4000500"/>
                <a:gd name="connsiteY3" fmla="*/ 3963037 h 4267200"/>
                <a:gd name="connsiteX4" fmla="*/ 2950882 w 4000500"/>
                <a:gd name="connsiteY4" fmla="*/ 3961608 h 4267200"/>
                <a:gd name="connsiteX5" fmla="*/ 2885351 w 4000500"/>
                <a:gd name="connsiteY5" fmla="*/ 3773680 h 4267200"/>
                <a:gd name="connsiteX6" fmla="*/ 2871920 w 4000500"/>
                <a:gd name="connsiteY6" fmla="*/ 3621471 h 4267200"/>
                <a:gd name="connsiteX7" fmla="*/ 2074773 w 4000500"/>
                <a:gd name="connsiteY7" fmla="*/ 2476852 h 4267200"/>
                <a:gd name="connsiteX8" fmla="*/ 1277626 w 4000500"/>
                <a:gd name="connsiteY8" fmla="*/ 3621471 h 4267200"/>
                <a:gd name="connsiteX9" fmla="*/ 1264195 w 4000500"/>
                <a:gd name="connsiteY9" fmla="*/ 3773680 h 4267200"/>
                <a:gd name="connsiteX10" fmla="*/ 1198568 w 4000500"/>
                <a:gd name="connsiteY10" fmla="*/ 3961608 h 4267200"/>
                <a:gd name="connsiteX11" fmla="*/ 1179899 w 4000500"/>
                <a:gd name="connsiteY11" fmla="*/ 3963037 h 4267200"/>
                <a:gd name="connsiteX12" fmla="*/ 1031404 w 4000500"/>
                <a:gd name="connsiteY12" fmla="*/ 3824830 h 4267200"/>
                <a:gd name="connsiteX13" fmla="*/ 732986 w 4000500"/>
                <a:gd name="connsiteY13" fmla="*/ 3213229 h 4267200"/>
                <a:gd name="connsiteX14" fmla="*/ 341699 w 4000500"/>
                <a:gd name="connsiteY14" fmla="*/ 823216 h 4267200"/>
                <a:gd name="connsiteX15" fmla="*/ 604018 w 4000500"/>
                <a:gd name="connsiteY15" fmla="*/ 366302 h 4267200"/>
                <a:gd name="connsiteX16" fmla="*/ 971111 w 4000500"/>
                <a:gd name="connsiteY16" fmla="*/ 335441 h 4267200"/>
                <a:gd name="connsiteX17" fmla="*/ 2022576 w 4000500"/>
                <a:gd name="connsiteY17" fmla="*/ 844552 h 4267200"/>
                <a:gd name="connsiteX18" fmla="*/ 2022576 w 4000500"/>
                <a:gd name="connsiteY18" fmla="*/ 477364 h 4267200"/>
                <a:gd name="connsiteX19" fmla="*/ 1043787 w 4000500"/>
                <a:gd name="connsiteY19" fmla="*/ 32165 h 4267200"/>
                <a:gd name="connsiteX20" fmla="*/ 442855 w 4000500"/>
                <a:gd name="connsiteY20" fmla="*/ 99507 h 4267200"/>
                <a:gd name="connsiteX21" fmla="*/ 37280 w 4000500"/>
                <a:gd name="connsiteY21" fmla="*/ 756637 h 4267200"/>
                <a:gd name="connsiteX22" fmla="*/ 440569 w 4000500"/>
                <a:gd name="connsiteY22" fmla="*/ 3320576 h 4267200"/>
                <a:gd name="connsiteX23" fmla="*/ 768705 w 4000500"/>
                <a:gd name="connsiteY23" fmla="*/ 3992375 h 4267200"/>
                <a:gd name="connsiteX24" fmla="*/ 1240097 w 4000500"/>
                <a:gd name="connsiteY24" fmla="*/ 4268695 h 4267200"/>
                <a:gd name="connsiteX25" fmla="*/ 1574139 w 4000500"/>
                <a:gd name="connsiteY25" fmla="*/ 3811495 h 4267200"/>
                <a:gd name="connsiteX26" fmla="*/ 1588998 w 4000500"/>
                <a:gd name="connsiteY26" fmla="*/ 3644521 h 4267200"/>
                <a:gd name="connsiteX27" fmla="*/ 2075249 w 4000500"/>
                <a:gd name="connsiteY27" fmla="*/ 2788700 h 4267200"/>
                <a:gd name="connsiteX28" fmla="*/ 2561501 w 4000500"/>
                <a:gd name="connsiteY28" fmla="*/ 3644521 h 4267200"/>
                <a:gd name="connsiteX29" fmla="*/ 2576360 w 4000500"/>
                <a:gd name="connsiteY29" fmla="*/ 3811495 h 4267200"/>
                <a:gd name="connsiteX30" fmla="*/ 2910020 w 4000500"/>
                <a:gd name="connsiteY30" fmla="*/ 4268504 h 4267200"/>
                <a:gd name="connsiteX31" fmla="*/ 2970028 w 4000500"/>
                <a:gd name="connsiteY31" fmla="*/ 4274410 h 4267200"/>
                <a:gd name="connsiteX32" fmla="*/ 3381889 w 4000500"/>
                <a:gd name="connsiteY32" fmla="*/ 3992184 h 4267200"/>
                <a:gd name="connsiteX33" fmla="*/ 3712025 w 4000500"/>
                <a:gd name="connsiteY33" fmla="*/ 3314956 h 4267200"/>
                <a:gd name="connsiteX34" fmla="*/ 4008157 w 4000500"/>
                <a:gd name="connsiteY34" fmla="*/ 2247585 h 4267200"/>
                <a:gd name="connsiteX35" fmla="*/ 3688118 w 4000500"/>
                <a:gd name="connsiteY35" fmla="*/ 2247585 h 4267200"/>
                <a:gd name="connsiteX36" fmla="*/ 3418751 w 4000500"/>
                <a:gd name="connsiteY36" fmla="*/ 320761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000500" h="4267200">
                  <a:moveTo>
                    <a:pt x="3418751" y="3207610"/>
                  </a:moveTo>
                  <a:cubicBezTo>
                    <a:pt x="3417322" y="3211325"/>
                    <a:pt x="3272351" y="3582800"/>
                    <a:pt x="3118237" y="3824830"/>
                  </a:cubicBezTo>
                  <a:cubicBezTo>
                    <a:pt x="3045847" y="3938463"/>
                    <a:pt x="2986982" y="3963037"/>
                    <a:pt x="2969456" y="3963037"/>
                  </a:cubicBezTo>
                  <a:cubicBezTo>
                    <a:pt x="2969266" y="3963037"/>
                    <a:pt x="2969170" y="3963037"/>
                    <a:pt x="2968980" y="3963037"/>
                  </a:cubicBezTo>
                  <a:cubicBezTo>
                    <a:pt x="2969170" y="3963037"/>
                    <a:pt x="2950311" y="3961132"/>
                    <a:pt x="2950882" y="3961608"/>
                  </a:cubicBezTo>
                  <a:cubicBezTo>
                    <a:pt x="2939071" y="3955036"/>
                    <a:pt x="2901638" y="3906745"/>
                    <a:pt x="2885351" y="3773680"/>
                  </a:cubicBezTo>
                  <a:cubicBezTo>
                    <a:pt x="2880016" y="3730532"/>
                    <a:pt x="2876302" y="3678716"/>
                    <a:pt x="2871920" y="3621471"/>
                  </a:cubicBezTo>
                  <a:cubicBezTo>
                    <a:pt x="2844298" y="3249996"/>
                    <a:pt x="2786576" y="2476852"/>
                    <a:pt x="2074773" y="2476852"/>
                  </a:cubicBezTo>
                  <a:cubicBezTo>
                    <a:pt x="1362970" y="2476852"/>
                    <a:pt x="1305248" y="3249996"/>
                    <a:pt x="1277626" y="3621471"/>
                  </a:cubicBezTo>
                  <a:cubicBezTo>
                    <a:pt x="1273244" y="3678716"/>
                    <a:pt x="1269529" y="3730437"/>
                    <a:pt x="1264195" y="3773680"/>
                  </a:cubicBezTo>
                  <a:cubicBezTo>
                    <a:pt x="1248003" y="3906650"/>
                    <a:pt x="1210379" y="3955036"/>
                    <a:pt x="1198568" y="3961608"/>
                  </a:cubicBezTo>
                  <a:cubicBezTo>
                    <a:pt x="1199235" y="3960942"/>
                    <a:pt x="1179042" y="3963037"/>
                    <a:pt x="1179899" y="3963037"/>
                  </a:cubicBezTo>
                  <a:cubicBezTo>
                    <a:pt x="1162468" y="3963037"/>
                    <a:pt x="1103604" y="3938558"/>
                    <a:pt x="1031404" y="3824830"/>
                  </a:cubicBezTo>
                  <a:cubicBezTo>
                    <a:pt x="878147" y="3584038"/>
                    <a:pt x="733081" y="3213229"/>
                    <a:pt x="732986" y="3213229"/>
                  </a:cubicBezTo>
                  <a:cubicBezTo>
                    <a:pt x="727366" y="3197037"/>
                    <a:pt x="175488" y="1582740"/>
                    <a:pt x="341699" y="823216"/>
                  </a:cubicBezTo>
                  <a:cubicBezTo>
                    <a:pt x="391610" y="595093"/>
                    <a:pt x="479812" y="441359"/>
                    <a:pt x="604018" y="366302"/>
                  </a:cubicBezTo>
                  <a:cubicBezTo>
                    <a:pt x="701935" y="307247"/>
                    <a:pt x="825283" y="295531"/>
                    <a:pt x="971111" y="335441"/>
                  </a:cubicBezTo>
                  <a:cubicBezTo>
                    <a:pt x="1115320" y="371636"/>
                    <a:pt x="1686724" y="618334"/>
                    <a:pt x="2022576" y="844552"/>
                  </a:cubicBezTo>
                  <a:lnTo>
                    <a:pt x="2022576" y="477364"/>
                  </a:lnTo>
                  <a:cubicBezTo>
                    <a:pt x="1665198" y="269147"/>
                    <a:pt x="1203140" y="72265"/>
                    <a:pt x="1043787" y="32165"/>
                  </a:cubicBezTo>
                  <a:cubicBezTo>
                    <a:pt x="826998" y="-27557"/>
                    <a:pt x="613733" y="-3554"/>
                    <a:pt x="442855" y="99507"/>
                  </a:cubicBezTo>
                  <a:cubicBezTo>
                    <a:pt x="242639" y="220474"/>
                    <a:pt x="106051" y="441645"/>
                    <a:pt x="37280" y="756637"/>
                  </a:cubicBezTo>
                  <a:cubicBezTo>
                    <a:pt x="-147695" y="1601504"/>
                    <a:pt x="414470" y="3245519"/>
                    <a:pt x="440569" y="3320576"/>
                  </a:cubicBezTo>
                  <a:cubicBezTo>
                    <a:pt x="446950" y="3336959"/>
                    <a:pt x="598207" y="3724627"/>
                    <a:pt x="768705" y="3992375"/>
                  </a:cubicBezTo>
                  <a:cubicBezTo>
                    <a:pt x="959681" y="4292698"/>
                    <a:pt x="1167136" y="4283173"/>
                    <a:pt x="1240097" y="4268695"/>
                  </a:cubicBezTo>
                  <a:cubicBezTo>
                    <a:pt x="1325536" y="4258599"/>
                    <a:pt x="1527371" y="4193543"/>
                    <a:pt x="1574139" y="3811495"/>
                  </a:cubicBezTo>
                  <a:cubicBezTo>
                    <a:pt x="1579949" y="3764060"/>
                    <a:pt x="1584235" y="3707291"/>
                    <a:pt x="1588998" y="3644521"/>
                  </a:cubicBezTo>
                  <a:cubicBezTo>
                    <a:pt x="1630432" y="3089404"/>
                    <a:pt x="1720157" y="2788700"/>
                    <a:pt x="2075249" y="2788700"/>
                  </a:cubicBezTo>
                  <a:cubicBezTo>
                    <a:pt x="2430151" y="2788700"/>
                    <a:pt x="2519971" y="3089500"/>
                    <a:pt x="2561501" y="3644521"/>
                  </a:cubicBezTo>
                  <a:cubicBezTo>
                    <a:pt x="2566168" y="3707196"/>
                    <a:pt x="2570549" y="3764155"/>
                    <a:pt x="2576360" y="3811495"/>
                  </a:cubicBezTo>
                  <a:cubicBezTo>
                    <a:pt x="2623127" y="4193352"/>
                    <a:pt x="2824581" y="4258408"/>
                    <a:pt x="2910020" y="4268504"/>
                  </a:cubicBezTo>
                  <a:cubicBezTo>
                    <a:pt x="2924879" y="4271648"/>
                    <a:pt x="2945453" y="4274410"/>
                    <a:pt x="2970028" y="4274410"/>
                  </a:cubicBezTo>
                  <a:cubicBezTo>
                    <a:pt x="3066897" y="4274410"/>
                    <a:pt x="3229489" y="4231643"/>
                    <a:pt x="3381889" y="3992184"/>
                  </a:cubicBezTo>
                  <a:cubicBezTo>
                    <a:pt x="3552196" y="3724627"/>
                    <a:pt x="3703548" y="3336959"/>
                    <a:pt x="3712025" y="3314956"/>
                  </a:cubicBezTo>
                  <a:cubicBezTo>
                    <a:pt x="3719360" y="3293716"/>
                    <a:pt x="3882332" y="2818609"/>
                    <a:pt x="4008157" y="2247585"/>
                  </a:cubicBezTo>
                  <a:lnTo>
                    <a:pt x="3688118" y="2247585"/>
                  </a:lnTo>
                  <a:cubicBezTo>
                    <a:pt x="3567817" y="2772031"/>
                    <a:pt x="3418655" y="3207610"/>
                    <a:pt x="3418751" y="32076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grpSp>
        <p:nvGrpSpPr>
          <p:cNvPr id="75" name="Grafik 62">
            <a:extLst>
              <a:ext uri="{FF2B5EF4-FFF2-40B4-BE49-F238E27FC236}">
                <a16:creationId xmlns:a16="http://schemas.microsoft.com/office/drawing/2014/main" id="{7AB5408C-B48A-40E0-8CE2-1D09C77A97D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17517" y="4238493"/>
            <a:ext cx="360000" cy="358827"/>
            <a:chOff x="3171825" y="514350"/>
            <a:chExt cx="5848350" cy="5829300"/>
          </a:xfrm>
          <a:solidFill>
            <a:schemeClr val="bg1"/>
          </a:solidFill>
        </p:grpSpPr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EB99552-BF38-F0FB-BD64-1BF990EC2C62}"/>
                </a:ext>
              </a:extLst>
            </p:cNvPr>
            <p:cNvSpPr/>
            <p:nvPr/>
          </p:nvSpPr>
          <p:spPr bwMode="gray">
            <a:xfrm>
              <a:off x="4356766" y="2696962"/>
              <a:ext cx="3533775" cy="3648075"/>
            </a:xfrm>
            <a:custGeom>
              <a:avLst/>
              <a:gdLst>
                <a:gd name="connsiteX0" fmla="*/ 1765618 w 3533775"/>
                <a:gd name="connsiteY0" fmla="*/ 2279565 h 3648075"/>
                <a:gd name="connsiteX1" fmla="*/ 2370456 w 3533775"/>
                <a:gd name="connsiteY1" fmla="*/ 3349223 h 3648075"/>
                <a:gd name="connsiteX2" fmla="*/ 2559337 w 3533775"/>
                <a:gd name="connsiteY2" fmla="*/ 3646308 h 3648075"/>
                <a:gd name="connsiteX3" fmla="*/ 2849087 w 3533775"/>
                <a:gd name="connsiteY3" fmla="*/ 3456093 h 3648075"/>
                <a:gd name="connsiteX4" fmla="*/ 3139028 w 3533775"/>
                <a:gd name="connsiteY4" fmla="*/ 2861828 h 3648075"/>
                <a:gd name="connsiteX5" fmla="*/ 3504312 w 3533775"/>
                <a:gd name="connsiteY5" fmla="*/ 580115 h 3648075"/>
                <a:gd name="connsiteX6" fmla="*/ 2748313 w 3533775"/>
                <a:gd name="connsiteY6" fmla="*/ 21569 h 3648075"/>
                <a:gd name="connsiteX7" fmla="*/ 2005077 w 3533775"/>
                <a:gd name="connsiteY7" fmla="*/ 332846 h 3648075"/>
                <a:gd name="connsiteX8" fmla="*/ 1765999 w 3533775"/>
                <a:gd name="connsiteY8" fmla="*/ 407236 h 3648075"/>
                <a:gd name="connsiteX9" fmla="*/ 1770000 w 3533775"/>
                <a:gd name="connsiteY9" fmla="*/ 407236 h 3648075"/>
                <a:gd name="connsiteX10" fmla="*/ 1530732 w 3533775"/>
                <a:gd name="connsiteY10" fmla="*/ 332846 h 3648075"/>
                <a:gd name="connsiteX11" fmla="*/ 787496 w 3533775"/>
                <a:gd name="connsiteY11" fmla="*/ 21569 h 3648075"/>
                <a:gd name="connsiteX12" fmla="*/ 31497 w 3533775"/>
                <a:gd name="connsiteY12" fmla="*/ 580115 h 3648075"/>
                <a:gd name="connsiteX13" fmla="*/ 396876 w 3533775"/>
                <a:gd name="connsiteY13" fmla="*/ 2861828 h 3648075"/>
                <a:gd name="connsiteX14" fmla="*/ 686626 w 3533775"/>
                <a:gd name="connsiteY14" fmla="*/ 3456093 h 3648075"/>
                <a:gd name="connsiteX15" fmla="*/ 976377 w 3533775"/>
                <a:gd name="connsiteY15" fmla="*/ 3646308 h 3648075"/>
                <a:gd name="connsiteX16" fmla="*/ 1165448 w 3533775"/>
                <a:gd name="connsiteY16" fmla="*/ 3349223 h 3648075"/>
                <a:gd name="connsiteX17" fmla="*/ 1770095 w 3533775"/>
                <a:gd name="connsiteY17" fmla="*/ 2279565 h 3648075"/>
                <a:gd name="connsiteX18" fmla="*/ 1765618 w 3533775"/>
                <a:gd name="connsiteY18" fmla="*/ 2279565 h 364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3775" h="3648075">
                  <a:moveTo>
                    <a:pt x="1765618" y="2279565"/>
                  </a:moveTo>
                  <a:cubicBezTo>
                    <a:pt x="2370456" y="2279565"/>
                    <a:pt x="2332546" y="3040137"/>
                    <a:pt x="2370456" y="3349223"/>
                  </a:cubicBezTo>
                  <a:cubicBezTo>
                    <a:pt x="2408175" y="3658119"/>
                    <a:pt x="2559337" y="3646308"/>
                    <a:pt x="2559337" y="3646308"/>
                  </a:cubicBezTo>
                  <a:cubicBezTo>
                    <a:pt x="2559337" y="3646308"/>
                    <a:pt x="2697925" y="3693742"/>
                    <a:pt x="2849087" y="3456093"/>
                  </a:cubicBezTo>
                  <a:cubicBezTo>
                    <a:pt x="3000249" y="3218350"/>
                    <a:pt x="3139028" y="2861828"/>
                    <a:pt x="3139028" y="2861828"/>
                  </a:cubicBezTo>
                  <a:cubicBezTo>
                    <a:pt x="3139028" y="2861828"/>
                    <a:pt x="3668046" y="1328875"/>
                    <a:pt x="3504312" y="580115"/>
                  </a:cubicBezTo>
                  <a:cubicBezTo>
                    <a:pt x="3340768" y="-168550"/>
                    <a:pt x="2748313" y="21569"/>
                    <a:pt x="2748313" y="21569"/>
                  </a:cubicBezTo>
                  <a:cubicBezTo>
                    <a:pt x="2748313" y="21569"/>
                    <a:pt x="2315973" y="118914"/>
                    <a:pt x="2005077" y="332846"/>
                  </a:cubicBezTo>
                  <a:cubicBezTo>
                    <a:pt x="1955070" y="367326"/>
                    <a:pt x="1871822" y="407236"/>
                    <a:pt x="1765999" y="407236"/>
                  </a:cubicBezTo>
                  <a:lnTo>
                    <a:pt x="1770000" y="407236"/>
                  </a:lnTo>
                  <a:cubicBezTo>
                    <a:pt x="1664463" y="407236"/>
                    <a:pt x="1580928" y="367326"/>
                    <a:pt x="1530732" y="332846"/>
                  </a:cubicBezTo>
                  <a:cubicBezTo>
                    <a:pt x="1219836" y="118914"/>
                    <a:pt x="787496" y="21569"/>
                    <a:pt x="787496" y="21569"/>
                  </a:cubicBezTo>
                  <a:cubicBezTo>
                    <a:pt x="787496" y="21569"/>
                    <a:pt x="195422" y="-168455"/>
                    <a:pt x="31497" y="580115"/>
                  </a:cubicBezTo>
                  <a:cubicBezTo>
                    <a:pt x="-132429" y="1328685"/>
                    <a:pt x="396876" y="2861828"/>
                    <a:pt x="396876" y="2861828"/>
                  </a:cubicBezTo>
                  <a:cubicBezTo>
                    <a:pt x="396876" y="2861828"/>
                    <a:pt x="535464" y="3218350"/>
                    <a:pt x="686626" y="3456093"/>
                  </a:cubicBezTo>
                  <a:cubicBezTo>
                    <a:pt x="837788" y="3693647"/>
                    <a:pt x="976377" y="3646308"/>
                    <a:pt x="976377" y="3646308"/>
                  </a:cubicBezTo>
                  <a:cubicBezTo>
                    <a:pt x="976377" y="3646308"/>
                    <a:pt x="1127538" y="3658119"/>
                    <a:pt x="1165448" y="3349223"/>
                  </a:cubicBezTo>
                  <a:cubicBezTo>
                    <a:pt x="1203167" y="3040137"/>
                    <a:pt x="1165448" y="2279565"/>
                    <a:pt x="1770095" y="2279565"/>
                  </a:cubicBezTo>
                  <a:cubicBezTo>
                    <a:pt x="1770190" y="2279565"/>
                    <a:pt x="1765618" y="2279565"/>
                    <a:pt x="1765618" y="22795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6CFD2302-8188-7064-8F25-D8E4AD192B51}"/>
                </a:ext>
              </a:extLst>
            </p:cNvPr>
            <p:cNvSpPr/>
            <p:nvPr/>
          </p:nvSpPr>
          <p:spPr bwMode="gray">
            <a:xfrm>
              <a:off x="3171825" y="514350"/>
              <a:ext cx="5838825" cy="2905125"/>
            </a:xfrm>
            <a:custGeom>
              <a:avLst/>
              <a:gdLst>
                <a:gd name="connsiteX0" fmla="*/ 5847969 w 5838825"/>
                <a:gd name="connsiteY0" fmla="*/ 2913507 h 2905125"/>
                <a:gd name="connsiteX1" fmla="*/ 5483257 w 5838825"/>
                <a:gd name="connsiteY1" fmla="*/ 2913507 h 2905125"/>
                <a:gd name="connsiteX2" fmla="*/ 2924080 w 5838825"/>
                <a:gd name="connsiteY2" fmla="*/ 363379 h 2905125"/>
                <a:gd name="connsiteX3" fmla="*/ 364712 w 5838825"/>
                <a:gd name="connsiteY3" fmla="*/ 2913507 h 2905125"/>
                <a:gd name="connsiteX4" fmla="*/ 0 w 5838825"/>
                <a:gd name="connsiteY4" fmla="*/ 2913507 h 2905125"/>
                <a:gd name="connsiteX5" fmla="*/ 2923889 w 5838825"/>
                <a:gd name="connsiteY5" fmla="*/ 0 h 2905125"/>
                <a:gd name="connsiteX6" fmla="*/ 5847969 w 5838825"/>
                <a:gd name="connsiteY6" fmla="*/ 2913507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8825" h="2905125">
                  <a:moveTo>
                    <a:pt x="5847969" y="2913507"/>
                  </a:moveTo>
                  <a:lnTo>
                    <a:pt x="5483257" y="2913507"/>
                  </a:lnTo>
                  <a:cubicBezTo>
                    <a:pt x="5483257" y="1507427"/>
                    <a:pt x="4335209" y="363379"/>
                    <a:pt x="2924080" y="363379"/>
                  </a:cubicBezTo>
                  <a:cubicBezTo>
                    <a:pt x="1512951" y="363379"/>
                    <a:pt x="364712" y="1507617"/>
                    <a:pt x="364712" y="2913507"/>
                  </a:cubicBezTo>
                  <a:lnTo>
                    <a:pt x="0" y="2913507"/>
                  </a:lnTo>
                  <a:cubicBezTo>
                    <a:pt x="0" y="1307021"/>
                    <a:pt x="1311593" y="0"/>
                    <a:pt x="2923889" y="0"/>
                  </a:cubicBezTo>
                  <a:cubicBezTo>
                    <a:pt x="4536186" y="0"/>
                    <a:pt x="5847969" y="1307021"/>
                    <a:pt x="5847969" y="29135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grpSp>
        <p:nvGrpSpPr>
          <p:cNvPr id="78" name="Group 4">
            <a:extLst>
              <a:ext uri="{FF2B5EF4-FFF2-40B4-BE49-F238E27FC236}">
                <a16:creationId xmlns:a16="http://schemas.microsoft.com/office/drawing/2014/main" id="{2E926A16-4731-8AC3-D86A-4FC61D05FA7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77239" y="4736336"/>
            <a:ext cx="429817" cy="414850"/>
            <a:chOff x="1613" y="-2"/>
            <a:chExt cx="4480" cy="4324"/>
          </a:xfrm>
          <a:solidFill>
            <a:schemeClr val="bg1"/>
          </a:solidFill>
        </p:grpSpPr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DB31927F-9584-39F4-E734-2C6A172BF5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" y="1024"/>
              <a:ext cx="1583" cy="1262"/>
            </a:xfrm>
            <a:custGeom>
              <a:avLst/>
              <a:gdLst>
                <a:gd name="T0" fmla="*/ 805 w 805"/>
                <a:gd name="T1" fmla="*/ 490 h 643"/>
                <a:gd name="T2" fmla="*/ 498 w 805"/>
                <a:gd name="T3" fmla="*/ 93 h 643"/>
                <a:gd name="T4" fmla="*/ 0 w 805"/>
                <a:gd name="T5" fmla="*/ 152 h 643"/>
                <a:gd name="T6" fmla="*/ 307 w 805"/>
                <a:gd name="T7" fmla="*/ 549 h 643"/>
                <a:gd name="T8" fmla="*/ 805 w 805"/>
                <a:gd name="T9" fmla="*/ 490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5" h="643">
                  <a:moveTo>
                    <a:pt x="805" y="490"/>
                  </a:moveTo>
                  <a:cubicBezTo>
                    <a:pt x="805" y="490"/>
                    <a:pt x="721" y="186"/>
                    <a:pt x="498" y="93"/>
                  </a:cubicBezTo>
                  <a:cubicBezTo>
                    <a:pt x="276" y="0"/>
                    <a:pt x="0" y="152"/>
                    <a:pt x="0" y="152"/>
                  </a:cubicBezTo>
                  <a:cubicBezTo>
                    <a:pt x="0" y="152"/>
                    <a:pt x="84" y="456"/>
                    <a:pt x="307" y="549"/>
                  </a:cubicBezTo>
                  <a:cubicBezTo>
                    <a:pt x="529" y="643"/>
                    <a:pt x="805" y="490"/>
                    <a:pt x="805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0" name="Oval 6">
              <a:extLst>
                <a:ext uri="{FF2B5EF4-FFF2-40B4-BE49-F238E27FC236}">
                  <a16:creationId xmlns:a16="http://schemas.microsoft.com/office/drawing/2014/main" id="{38791623-117F-4B4E-9B64-4EC52F6AEC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01" y="-2"/>
              <a:ext cx="881" cy="15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AAF89BA7-02E0-A195-F220-E44149AB72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9" y="1024"/>
              <a:ext cx="1585" cy="1262"/>
            </a:xfrm>
            <a:custGeom>
              <a:avLst/>
              <a:gdLst>
                <a:gd name="T0" fmla="*/ 499 w 806"/>
                <a:gd name="T1" fmla="*/ 549 h 643"/>
                <a:gd name="T2" fmla="*/ 806 w 806"/>
                <a:gd name="T3" fmla="*/ 152 h 643"/>
                <a:gd name="T4" fmla="*/ 307 w 806"/>
                <a:gd name="T5" fmla="*/ 93 h 643"/>
                <a:gd name="T6" fmla="*/ 0 w 806"/>
                <a:gd name="T7" fmla="*/ 490 h 643"/>
                <a:gd name="T8" fmla="*/ 499 w 806"/>
                <a:gd name="T9" fmla="*/ 549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6" h="643">
                  <a:moveTo>
                    <a:pt x="499" y="549"/>
                  </a:moveTo>
                  <a:cubicBezTo>
                    <a:pt x="721" y="456"/>
                    <a:pt x="806" y="152"/>
                    <a:pt x="806" y="152"/>
                  </a:cubicBezTo>
                  <a:cubicBezTo>
                    <a:pt x="806" y="152"/>
                    <a:pt x="530" y="0"/>
                    <a:pt x="307" y="93"/>
                  </a:cubicBezTo>
                  <a:cubicBezTo>
                    <a:pt x="85" y="186"/>
                    <a:pt x="0" y="490"/>
                    <a:pt x="0" y="490"/>
                  </a:cubicBezTo>
                  <a:cubicBezTo>
                    <a:pt x="0" y="490"/>
                    <a:pt x="276" y="643"/>
                    <a:pt x="499" y="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2" name="Rectangle 8">
              <a:extLst>
                <a:ext uri="{FF2B5EF4-FFF2-40B4-BE49-F238E27FC236}">
                  <a16:creationId xmlns:a16="http://schemas.microsoft.com/office/drawing/2014/main" id="{DCA9D1D0-0065-0B32-C293-A4EB4A2E0F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13" y="2843"/>
              <a:ext cx="743" cy="123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F34288D6-53DC-3E39-0BC4-C2E7B29D3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6" y="2619"/>
              <a:ext cx="2045" cy="1105"/>
            </a:xfrm>
            <a:custGeom>
              <a:avLst/>
              <a:gdLst>
                <a:gd name="T0" fmla="*/ 783 w 1040"/>
                <a:gd name="T1" fmla="*/ 372 h 563"/>
                <a:gd name="T2" fmla="*/ 559 w 1040"/>
                <a:gd name="T3" fmla="*/ 224 h 563"/>
                <a:gd name="T4" fmla="*/ 491 w 1040"/>
                <a:gd name="T5" fmla="*/ 327 h 563"/>
                <a:gd name="T6" fmla="*/ 719 w 1040"/>
                <a:gd name="T7" fmla="*/ 479 h 563"/>
                <a:gd name="T8" fmla="*/ 963 w 1040"/>
                <a:gd name="T9" fmla="*/ 465 h 563"/>
                <a:gd name="T10" fmla="*/ 895 w 1040"/>
                <a:gd name="T11" fmla="*/ 210 h 563"/>
                <a:gd name="T12" fmla="*/ 678 w 1040"/>
                <a:gd name="T13" fmla="*/ 56 h 563"/>
                <a:gd name="T14" fmla="*/ 489 w 1040"/>
                <a:gd name="T15" fmla="*/ 10 h 563"/>
                <a:gd name="T16" fmla="*/ 0 w 1040"/>
                <a:gd name="T17" fmla="*/ 113 h 563"/>
                <a:gd name="T18" fmla="*/ 0 w 1040"/>
                <a:gd name="T19" fmla="*/ 244 h 563"/>
                <a:gd name="T20" fmla="*/ 508 w 1040"/>
                <a:gd name="T21" fmla="*/ 134 h 563"/>
                <a:gd name="T22" fmla="*/ 607 w 1040"/>
                <a:gd name="T23" fmla="*/ 160 h 563"/>
                <a:gd name="T24" fmla="*/ 839 w 1040"/>
                <a:gd name="T25" fmla="*/ 327 h 563"/>
                <a:gd name="T26" fmla="*/ 861 w 1040"/>
                <a:gd name="T27" fmla="*/ 392 h 563"/>
                <a:gd name="T28" fmla="*/ 783 w 1040"/>
                <a:gd name="T29" fmla="*/ 372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0" h="563">
                  <a:moveTo>
                    <a:pt x="783" y="372"/>
                  </a:moveTo>
                  <a:cubicBezTo>
                    <a:pt x="559" y="224"/>
                    <a:pt x="559" y="224"/>
                    <a:pt x="559" y="224"/>
                  </a:cubicBezTo>
                  <a:cubicBezTo>
                    <a:pt x="491" y="327"/>
                    <a:pt x="491" y="327"/>
                    <a:pt x="491" y="327"/>
                  </a:cubicBezTo>
                  <a:cubicBezTo>
                    <a:pt x="491" y="327"/>
                    <a:pt x="660" y="443"/>
                    <a:pt x="719" y="479"/>
                  </a:cubicBezTo>
                  <a:cubicBezTo>
                    <a:pt x="856" y="563"/>
                    <a:pt x="925" y="509"/>
                    <a:pt x="963" y="465"/>
                  </a:cubicBezTo>
                  <a:cubicBezTo>
                    <a:pt x="996" y="425"/>
                    <a:pt x="1040" y="312"/>
                    <a:pt x="895" y="210"/>
                  </a:cubicBezTo>
                  <a:cubicBezTo>
                    <a:pt x="838" y="170"/>
                    <a:pt x="678" y="56"/>
                    <a:pt x="678" y="56"/>
                  </a:cubicBezTo>
                  <a:cubicBezTo>
                    <a:pt x="623" y="17"/>
                    <a:pt x="556" y="0"/>
                    <a:pt x="489" y="1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08" y="134"/>
                    <a:pt x="508" y="134"/>
                    <a:pt x="508" y="134"/>
                  </a:cubicBezTo>
                  <a:cubicBezTo>
                    <a:pt x="545" y="129"/>
                    <a:pt x="576" y="138"/>
                    <a:pt x="607" y="160"/>
                  </a:cubicBezTo>
                  <a:cubicBezTo>
                    <a:pt x="839" y="327"/>
                    <a:pt x="839" y="327"/>
                    <a:pt x="839" y="327"/>
                  </a:cubicBezTo>
                  <a:cubicBezTo>
                    <a:pt x="860" y="342"/>
                    <a:pt x="885" y="368"/>
                    <a:pt x="861" y="392"/>
                  </a:cubicBezTo>
                  <a:cubicBezTo>
                    <a:pt x="840" y="413"/>
                    <a:pt x="805" y="388"/>
                    <a:pt x="783" y="3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9BB87F7-9F7E-CDD3-2AC2-B8124C5C0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4" y="2686"/>
              <a:ext cx="3489" cy="1636"/>
            </a:xfrm>
            <a:custGeom>
              <a:avLst/>
              <a:gdLst>
                <a:gd name="T0" fmla="*/ 1745 w 1774"/>
                <a:gd name="T1" fmla="*/ 102 h 834"/>
                <a:gd name="T2" fmla="*/ 1576 w 1774"/>
                <a:gd name="T3" fmla="*/ 21 h 834"/>
                <a:gd name="T4" fmla="*/ 1071 w 1774"/>
                <a:gd name="T5" fmla="*/ 170 h 834"/>
                <a:gd name="T6" fmla="*/ 1115 w 1774"/>
                <a:gd name="T7" fmla="*/ 289 h 834"/>
                <a:gd name="T8" fmla="*/ 1557 w 1774"/>
                <a:gd name="T9" fmla="*/ 157 h 834"/>
                <a:gd name="T10" fmla="*/ 1636 w 1774"/>
                <a:gd name="T11" fmla="*/ 158 h 834"/>
                <a:gd name="T12" fmla="*/ 1585 w 1774"/>
                <a:gd name="T13" fmla="*/ 228 h 834"/>
                <a:gd name="T14" fmla="*/ 772 w 1774"/>
                <a:gd name="T15" fmla="*/ 707 h 834"/>
                <a:gd name="T16" fmla="*/ 0 w 1774"/>
                <a:gd name="T17" fmla="*/ 579 h 834"/>
                <a:gd name="T18" fmla="*/ 0 w 1774"/>
                <a:gd name="T19" fmla="*/ 709 h 834"/>
                <a:gd name="T20" fmla="*/ 787 w 1774"/>
                <a:gd name="T21" fmla="*/ 834 h 834"/>
                <a:gd name="T22" fmla="*/ 1714 w 1774"/>
                <a:gd name="T23" fmla="*/ 294 h 834"/>
                <a:gd name="T24" fmla="*/ 1745 w 1774"/>
                <a:gd name="T25" fmla="*/ 102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4" h="834">
                  <a:moveTo>
                    <a:pt x="1745" y="102"/>
                  </a:moveTo>
                  <a:cubicBezTo>
                    <a:pt x="1716" y="46"/>
                    <a:pt x="1656" y="0"/>
                    <a:pt x="1576" y="21"/>
                  </a:cubicBezTo>
                  <a:cubicBezTo>
                    <a:pt x="1071" y="170"/>
                    <a:pt x="1071" y="170"/>
                    <a:pt x="1071" y="170"/>
                  </a:cubicBezTo>
                  <a:cubicBezTo>
                    <a:pt x="1115" y="289"/>
                    <a:pt x="1115" y="289"/>
                    <a:pt x="1115" y="289"/>
                  </a:cubicBezTo>
                  <a:cubicBezTo>
                    <a:pt x="1115" y="289"/>
                    <a:pt x="1446" y="189"/>
                    <a:pt x="1557" y="157"/>
                  </a:cubicBezTo>
                  <a:cubicBezTo>
                    <a:pt x="1596" y="146"/>
                    <a:pt x="1626" y="132"/>
                    <a:pt x="1636" y="158"/>
                  </a:cubicBezTo>
                  <a:cubicBezTo>
                    <a:pt x="1649" y="193"/>
                    <a:pt x="1623" y="205"/>
                    <a:pt x="1585" y="228"/>
                  </a:cubicBezTo>
                  <a:cubicBezTo>
                    <a:pt x="1492" y="285"/>
                    <a:pt x="835" y="707"/>
                    <a:pt x="772" y="707"/>
                  </a:cubicBezTo>
                  <a:cubicBezTo>
                    <a:pt x="678" y="707"/>
                    <a:pt x="0" y="579"/>
                    <a:pt x="0" y="57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0" y="709"/>
                    <a:pt x="698" y="834"/>
                    <a:pt x="787" y="834"/>
                  </a:cubicBezTo>
                  <a:cubicBezTo>
                    <a:pt x="884" y="834"/>
                    <a:pt x="1714" y="294"/>
                    <a:pt x="1714" y="294"/>
                  </a:cubicBezTo>
                  <a:cubicBezTo>
                    <a:pt x="1767" y="257"/>
                    <a:pt x="1774" y="160"/>
                    <a:pt x="1745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grpSp>
        <p:nvGrpSpPr>
          <p:cNvPr id="85" name="Group 45">
            <a:extLst>
              <a:ext uri="{FF2B5EF4-FFF2-40B4-BE49-F238E27FC236}">
                <a16:creationId xmlns:a16="http://schemas.microsoft.com/office/drawing/2014/main" id="{5BC1D9A2-20DD-6562-FF02-E990707ED8A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17596" y="2846359"/>
            <a:ext cx="396000" cy="390320"/>
            <a:chOff x="3575" y="1121"/>
            <a:chExt cx="4255" cy="4194"/>
          </a:xfrm>
          <a:solidFill>
            <a:schemeClr val="bg1"/>
          </a:solidFill>
        </p:grpSpPr>
        <p:sp>
          <p:nvSpPr>
            <p:cNvPr id="86" name="Freeform 46">
              <a:extLst>
                <a:ext uri="{FF2B5EF4-FFF2-40B4-BE49-F238E27FC236}">
                  <a16:creationId xmlns:a16="http://schemas.microsoft.com/office/drawing/2014/main" id="{DE359397-A299-1FC4-FA03-41AA45FEB9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0" y="2888"/>
              <a:ext cx="307" cy="637"/>
            </a:xfrm>
            <a:custGeom>
              <a:avLst/>
              <a:gdLst>
                <a:gd name="T0" fmla="*/ 307 w 307"/>
                <a:gd name="T1" fmla="*/ 637 h 637"/>
                <a:gd name="T2" fmla="*/ 150 w 307"/>
                <a:gd name="T3" fmla="*/ 637 h 637"/>
                <a:gd name="T4" fmla="*/ 150 w 307"/>
                <a:gd name="T5" fmla="*/ 180 h 637"/>
                <a:gd name="T6" fmla="*/ 0 w 307"/>
                <a:gd name="T7" fmla="*/ 252 h 637"/>
                <a:gd name="T8" fmla="*/ 0 w 307"/>
                <a:gd name="T9" fmla="*/ 90 h 637"/>
                <a:gd name="T10" fmla="*/ 198 w 307"/>
                <a:gd name="T11" fmla="*/ 0 h 637"/>
                <a:gd name="T12" fmla="*/ 307 w 307"/>
                <a:gd name="T13" fmla="*/ 0 h 637"/>
                <a:gd name="T14" fmla="*/ 307 w 307"/>
                <a:gd name="T15" fmla="*/ 63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" h="637">
                  <a:moveTo>
                    <a:pt x="307" y="637"/>
                  </a:moveTo>
                  <a:lnTo>
                    <a:pt x="150" y="637"/>
                  </a:lnTo>
                  <a:lnTo>
                    <a:pt x="150" y="180"/>
                  </a:lnTo>
                  <a:lnTo>
                    <a:pt x="0" y="252"/>
                  </a:lnTo>
                  <a:lnTo>
                    <a:pt x="0" y="90"/>
                  </a:lnTo>
                  <a:lnTo>
                    <a:pt x="198" y="0"/>
                  </a:lnTo>
                  <a:lnTo>
                    <a:pt x="307" y="0"/>
                  </a:lnTo>
                  <a:lnTo>
                    <a:pt x="307" y="6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7" name="Freeform 47">
              <a:extLst>
                <a:ext uri="{FF2B5EF4-FFF2-40B4-BE49-F238E27FC236}">
                  <a16:creationId xmlns:a16="http://schemas.microsoft.com/office/drawing/2014/main" id="{9ED28BD9-CD16-46A5-0FBE-4434F0F709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01" y="2876"/>
              <a:ext cx="530" cy="655"/>
            </a:xfrm>
            <a:custGeom>
              <a:avLst/>
              <a:gdLst>
                <a:gd name="T0" fmla="*/ 0 w 88"/>
                <a:gd name="T1" fmla="*/ 55 h 109"/>
                <a:gd name="T2" fmla="*/ 44 w 88"/>
                <a:gd name="T3" fmla="*/ 0 h 109"/>
                <a:gd name="T4" fmla="*/ 88 w 88"/>
                <a:gd name="T5" fmla="*/ 55 h 109"/>
                <a:gd name="T6" fmla="*/ 44 w 88"/>
                <a:gd name="T7" fmla="*/ 109 h 109"/>
                <a:gd name="T8" fmla="*/ 0 w 88"/>
                <a:gd name="T9" fmla="*/ 55 h 109"/>
                <a:gd name="T10" fmla="*/ 27 w 88"/>
                <a:gd name="T11" fmla="*/ 55 h 109"/>
                <a:gd name="T12" fmla="*/ 44 w 88"/>
                <a:gd name="T13" fmla="*/ 85 h 109"/>
                <a:gd name="T14" fmla="*/ 61 w 88"/>
                <a:gd name="T15" fmla="*/ 55 h 109"/>
                <a:gd name="T16" fmla="*/ 44 w 88"/>
                <a:gd name="T17" fmla="*/ 24 h 109"/>
                <a:gd name="T18" fmla="*/ 27 w 88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109">
                  <a:moveTo>
                    <a:pt x="0" y="55"/>
                  </a:moveTo>
                  <a:cubicBezTo>
                    <a:pt x="0" y="22"/>
                    <a:pt x="18" y="0"/>
                    <a:pt x="44" y="0"/>
                  </a:cubicBezTo>
                  <a:cubicBezTo>
                    <a:pt x="70" y="0"/>
                    <a:pt x="88" y="22"/>
                    <a:pt x="88" y="55"/>
                  </a:cubicBezTo>
                  <a:cubicBezTo>
                    <a:pt x="88" y="87"/>
                    <a:pt x="70" y="109"/>
                    <a:pt x="44" y="109"/>
                  </a:cubicBezTo>
                  <a:cubicBezTo>
                    <a:pt x="18" y="109"/>
                    <a:pt x="0" y="87"/>
                    <a:pt x="0" y="55"/>
                  </a:cubicBezTo>
                  <a:close/>
                  <a:moveTo>
                    <a:pt x="27" y="55"/>
                  </a:moveTo>
                  <a:cubicBezTo>
                    <a:pt x="27" y="71"/>
                    <a:pt x="32" y="85"/>
                    <a:pt x="44" y="85"/>
                  </a:cubicBezTo>
                  <a:cubicBezTo>
                    <a:pt x="56" y="85"/>
                    <a:pt x="61" y="71"/>
                    <a:pt x="61" y="55"/>
                  </a:cubicBezTo>
                  <a:cubicBezTo>
                    <a:pt x="61" y="38"/>
                    <a:pt x="56" y="24"/>
                    <a:pt x="44" y="24"/>
                  </a:cubicBezTo>
                  <a:cubicBezTo>
                    <a:pt x="32" y="24"/>
                    <a:pt x="27" y="38"/>
                    <a:pt x="2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8" name="Freeform 48">
              <a:extLst>
                <a:ext uri="{FF2B5EF4-FFF2-40B4-BE49-F238E27FC236}">
                  <a16:creationId xmlns:a16="http://schemas.microsoft.com/office/drawing/2014/main" id="{2B9AA9F4-4256-0885-FD95-3848A1F0B6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85" y="2876"/>
              <a:ext cx="523" cy="655"/>
            </a:xfrm>
            <a:custGeom>
              <a:avLst/>
              <a:gdLst>
                <a:gd name="T0" fmla="*/ 0 w 87"/>
                <a:gd name="T1" fmla="*/ 55 h 109"/>
                <a:gd name="T2" fmla="*/ 43 w 87"/>
                <a:gd name="T3" fmla="*/ 0 h 109"/>
                <a:gd name="T4" fmla="*/ 87 w 87"/>
                <a:gd name="T5" fmla="*/ 55 h 109"/>
                <a:gd name="T6" fmla="*/ 43 w 87"/>
                <a:gd name="T7" fmla="*/ 109 h 109"/>
                <a:gd name="T8" fmla="*/ 0 w 87"/>
                <a:gd name="T9" fmla="*/ 55 h 109"/>
                <a:gd name="T10" fmla="*/ 26 w 87"/>
                <a:gd name="T11" fmla="*/ 55 h 109"/>
                <a:gd name="T12" fmla="*/ 43 w 87"/>
                <a:gd name="T13" fmla="*/ 85 h 109"/>
                <a:gd name="T14" fmla="*/ 60 w 87"/>
                <a:gd name="T15" fmla="*/ 55 h 109"/>
                <a:gd name="T16" fmla="*/ 43 w 87"/>
                <a:gd name="T17" fmla="*/ 24 h 109"/>
                <a:gd name="T18" fmla="*/ 26 w 87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9">
                  <a:moveTo>
                    <a:pt x="0" y="55"/>
                  </a:moveTo>
                  <a:cubicBezTo>
                    <a:pt x="0" y="22"/>
                    <a:pt x="17" y="0"/>
                    <a:pt x="43" y="0"/>
                  </a:cubicBezTo>
                  <a:cubicBezTo>
                    <a:pt x="69" y="0"/>
                    <a:pt x="87" y="22"/>
                    <a:pt x="87" y="55"/>
                  </a:cubicBezTo>
                  <a:cubicBezTo>
                    <a:pt x="87" y="87"/>
                    <a:pt x="69" y="109"/>
                    <a:pt x="43" y="109"/>
                  </a:cubicBezTo>
                  <a:cubicBezTo>
                    <a:pt x="17" y="109"/>
                    <a:pt x="0" y="87"/>
                    <a:pt x="0" y="55"/>
                  </a:cubicBezTo>
                  <a:close/>
                  <a:moveTo>
                    <a:pt x="26" y="55"/>
                  </a:moveTo>
                  <a:cubicBezTo>
                    <a:pt x="26" y="71"/>
                    <a:pt x="31" y="85"/>
                    <a:pt x="43" y="85"/>
                  </a:cubicBezTo>
                  <a:cubicBezTo>
                    <a:pt x="56" y="85"/>
                    <a:pt x="60" y="71"/>
                    <a:pt x="60" y="55"/>
                  </a:cubicBezTo>
                  <a:cubicBezTo>
                    <a:pt x="60" y="38"/>
                    <a:pt x="56" y="24"/>
                    <a:pt x="43" y="24"/>
                  </a:cubicBezTo>
                  <a:cubicBezTo>
                    <a:pt x="31" y="24"/>
                    <a:pt x="26" y="38"/>
                    <a:pt x="2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89" name="Freeform 49">
              <a:extLst>
                <a:ext uri="{FF2B5EF4-FFF2-40B4-BE49-F238E27FC236}">
                  <a16:creationId xmlns:a16="http://schemas.microsoft.com/office/drawing/2014/main" id="{96620305-70B7-E9E5-7484-933674C57B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2" y="2876"/>
              <a:ext cx="657" cy="655"/>
            </a:xfrm>
            <a:custGeom>
              <a:avLst/>
              <a:gdLst>
                <a:gd name="T0" fmla="*/ 25 w 109"/>
                <a:gd name="T1" fmla="*/ 50 h 109"/>
                <a:gd name="T2" fmla="*/ 0 w 109"/>
                <a:gd name="T3" fmla="*/ 25 h 109"/>
                <a:gd name="T4" fmla="*/ 25 w 109"/>
                <a:gd name="T5" fmla="*/ 0 h 109"/>
                <a:gd name="T6" fmla="*/ 50 w 109"/>
                <a:gd name="T7" fmla="*/ 25 h 109"/>
                <a:gd name="T8" fmla="*/ 25 w 109"/>
                <a:gd name="T9" fmla="*/ 50 h 109"/>
                <a:gd name="T10" fmla="*/ 80 w 109"/>
                <a:gd name="T11" fmla="*/ 2 h 109"/>
                <a:gd name="T12" fmla="*/ 96 w 109"/>
                <a:gd name="T13" fmla="*/ 2 h 109"/>
                <a:gd name="T14" fmla="*/ 28 w 109"/>
                <a:gd name="T15" fmla="*/ 108 h 109"/>
                <a:gd name="T16" fmla="*/ 12 w 109"/>
                <a:gd name="T17" fmla="*/ 108 h 109"/>
                <a:gd name="T18" fmla="*/ 80 w 109"/>
                <a:gd name="T19" fmla="*/ 2 h 109"/>
                <a:gd name="T20" fmla="*/ 25 w 109"/>
                <a:gd name="T21" fmla="*/ 34 h 109"/>
                <a:gd name="T22" fmla="*/ 34 w 109"/>
                <a:gd name="T23" fmla="*/ 25 h 109"/>
                <a:gd name="T24" fmla="*/ 25 w 109"/>
                <a:gd name="T25" fmla="*/ 16 h 109"/>
                <a:gd name="T26" fmla="*/ 16 w 109"/>
                <a:gd name="T27" fmla="*/ 25 h 109"/>
                <a:gd name="T28" fmla="*/ 25 w 109"/>
                <a:gd name="T29" fmla="*/ 34 h 109"/>
                <a:gd name="T30" fmla="*/ 84 w 109"/>
                <a:gd name="T31" fmla="*/ 109 h 109"/>
                <a:gd name="T32" fmla="*/ 58 w 109"/>
                <a:gd name="T33" fmla="*/ 84 h 109"/>
                <a:gd name="T34" fmla="*/ 84 w 109"/>
                <a:gd name="T35" fmla="*/ 59 h 109"/>
                <a:gd name="T36" fmla="*/ 109 w 109"/>
                <a:gd name="T37" fmla="*/ 84 h 109"/>
                <a:gd name="T38" fmla="*/ 84 w 109"/>
                <a:gd name="T39" fmla="*/ 109 h 109"/>
                <a:gd name="T40" fmla="*/ 84 w 109"/>
                <a:gd name="T41" fmla="*/ 75 h 109"/>
                <a:gd name="T42" fmla="*/ 74 w 109"/>
                <a:gd name="T43" fmla="*/ 84 h 109"/>
                <a:gd name="T44" fmla="*/ 84 w 109"/>
                <a:gd name="T45" fmla="*/ 93 h 109"/>
                <a:gd name="T46" fmla="*/ 93 w 109"/>
                <a:gd name="T47" fmla="*/ 84 h 109"/>
                <a:gd name="T48" fmla="*/ 84 w 109"/>
                <a:gd name="T49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" h="109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80" y="2"/>
                  </a:moveTo>
                  <a:cubicBezTo>
                    <a:pt x="96" y="2"/>
                    <a:pt x="96" y="2"/>
                    <a:pt x="96" y="2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12" y="108"/>
                    <a:pt x="12" y="108"/>
                    <a:pt x="12" y="108"/>
                  </a:cubicBezTo>
                  <a:lnTo>
                    <a:pt x="80" y="2"/>
                  </a:lnTo>
                  <a:close/>
                  <a:moveTo>
                    <a:pt x="25" y="34"/>
                  </a:move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lose/>
                  <a:moveTo>
                    <a:pt x="84" y="109"/>
                  </a:moveTo>
                  <a:cubicBezTo>
                    <a:pt x="69" y="109"/>
                    <a:pt x="58" y="98"/>
                    <a:pt x="58" y="84"/>
                  </a:cubicBezTo>
                  <a:cubicBezTo>
                    <a:pt x="58" y="70"/>
                    <a:pt x="69" y="59"/>
                    <a:pt x="84" y="59"/>
                  </a:cubicBezTo>
                  <a:cubicBezTo>
                    <a:pt x="98" y="59"/>
                    <a:pt x="109" y="70"/>
                    <a:pt x="109" y="84"/>
                  </a:cubicBezTo>
                  <a:cubicBezTo>
                    <a:pt x="109" y="98"/>
                    <a:pt x="98" y="109"/>
                    <a:pt x="84" y="109"/>
                  </a:cubicBezTo>
                  <a:close/>
                  <a:moveTo>
                    <a:pt x="84" y="75"/>
                  </a:moveTo>
                  <a:cubicBezTo>
                    <a:pt x="78" y="75"/>
                    <a:pt x="74" y="79"/>
                    <a:pt x="74" y="84"/>
                  </a:cubicBezTo>
                  <a:cubicBezTo>
                    <a:pt x="74" y="89"/>
                    <a:pt x="78" y="93"/>
                    <a:pt x="84" y="93"/>
                  </a:cubicBezTo>
                  <a:cubicBezTo>
                    <a:pt x="89" y="93"/>
                    <a:pt x="93" y="89"/>
                    <a:pt x="93" y="84"/>
                  </a:cubicBezTo>
                  <a:cubicBezTo>
                    <a:pt x="93" y="79"/>
                    <a:pt x="89" y="75"/>
                    <a:pt x="84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0" name="Freeform 50">
              <a:extLst>
                <a:ext uri="{FF2B5EF4-FFF2-40B4-BE49-F238E27FC236}">
                  <a16:creationId xmlns:a16="http://schemas.microsoft.com/office/drawing/2014/main" id="{3F6E9B4E-2008-EEDF-75AB-DB824D03D8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5" y="1271"/>
              <a:ext cx="4255" cy="4044"/>
            </a:xfrm>
            <a:custGeom>
              <a:avLst/>
              <a:gdLst>
                <a:gd name="T0" fmla="*/ 392 w 707"/>
                <a:gd name="T1" fmla="*/ 0 h 673"/>
                <a:gd name="T2" fmla="*/ 435 w 707"/>
                <a:gd name="T3" fmla="*/ 43 h 673"/>
                <a:gd name="T4" fmla="*/ 461 w 707"/>
                <a:gd name="T5" fmla="*/ 69 h 673"/>
                <a:gd name="T6" fmla="*/ 435 w 707"/>
                <a:gd name="T7" fmla="*/ 94 h 673"/>
                <a:gd name="T8" fmla="*/ 414 w 707"/>
                <a:gd name="T9" fmla="*/ 115 h 673"/>
                <a:gd name="T10" fmla="*/ 505 w 707"/>
                <a:gd name="T11" fmla="*/ 168 h 673"/>
                <a:gd name="T12" fmla="*/ 505 w 707"/>
                <a:gd name="T13" fmla="*/ 471 h 673"/>
                <a:gd name="T14" fmla="*/ 202 w 707"/>
                <a:gd name="T15" fmla="*/ 471 h 673"/>
                <a:gd name="T16" fmla="*/ 202 w 707"/>
                <a:gd name="T17" fmla="*/ 168 h 673"/>
                <a:gd name="T18" fmla="*/ 234 w 707"/>
                <a:gd name="T19" fmla="*/ 143 h 673"/>
                <a:gd name="T20" fmla="*/ 265 w 707"/>
                <a:gd name="T21" fmla="*/ 111 h 673"/>
                <a:gd name="T22" fmla="*/ 308 w 707"/>
                <a:gd name="T23" fmla="*/ 68 h 673"/>
                <a:gd name="T24" fmla="*/ 265 w 707"/>
                <a:gd name="T25" fmla="*/ 26 h 673"/>
                <a:gd name="T26" fmla="*/ 254 w 707"/>
                <a:gd name="T27" fmla="*/ 14 h 673"/>
                <a:gd name="T28" fmla="*/ 126 w 707"/>
                <a:gd name="T29" fmla="*/ 92 h 673"/>
                <a:gd name="T30" fmla="*/ 126 w 707"/>
                <a:gd name="T31" fmla="*/ 547 h 673"/>
                <a:gd name="T32" fmla="*/ 581 w 707"/>
                <a:gd name="T33" fmla="*/ 547 h 673"/>
                <a:gd name="T34" fmla="*/ 581 w 707"/>
                <a:gd name="T35" fmla="*/ 92 h 673"/>
                <a:gd name="T36" fmla="*/ 392 w 707"/>
                <a:gd name="T37" fmla="*/ 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7" h="673">
                  <a:moveTo>
                    <a:pt x="392" y="0"/>
                  </a:moveTo>
                  <a:cubicBezTo>
                    <a:pt x="435" y="43"/>
                    <a:pt x="435" y="43"/>
                    <a:pt x="435" y="43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35" y="94"/>
                    <a:pt x="435" y="94"/>
                    <a:pt x="435" y="94"/>
                  </a:cubicBezTo>
                  <a:cubicBezTo>
                    <a:pt x="414" y="115"/>
                    <a:pt x="414" y="115"/>
                    <a:pt x="414" y="115"/>
                  </a:cubicBezTo>
                  <a:cubicBezTo>
                    <a:pt x="448" y="124"/>
                    <a:pt x="479" y="142"/>
                    <a:pt x="505" y="168"/>
                  </a:cubicBezTo>
                  <a:cubicBezTo>
                    <a:pt x="588" y="252"/>
                    <a:pt x="588" y="388"/>
                    <a:pt x="505" y="471"/>
                  </a:cubicBezTo>
                  <a:cubicBezTo>
                    <a:pt x="422" y="554"/>
                    <a:pt x="286" y="554"/>
                    <a:pt x="202" y="471"/>
                  </a:cubicBezTo>
                  <a:cubicBezTo>
                    <a:pt x="119" y="388"/>
                    <a:pt x="119" y="252"/>
                    <a:pt x="202" y="168"/>
                  </a:cubicBezTo>
                  <a:cubicBezTo>
                    <a:pt x="212" y="159"/>
                    <a:pt x="223" y="150"/>
                    <a:pt x="234" y="143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308" y="68"/>
                    <a:pt x="308" y="68"/>
                    <a:pt x="308" y="68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07" y="29"/>
                    <a:pt x="163" y="55"/>
                    <a:pt x="126" y="92"/>
                  </a:cubicBezTo>
                  <a:cubicBezTo>
                    <a:pt x="0" y="218"/>
                    <a:pt x="0" y="422"/>
                    <a:pt x="126" y="547"/>
                  </a:cubicBezTo>
                  <a:cubicBezTo>
                    <a:pt x="252" y="673"/>
                    <a:pt x="456" y="673"/>
                    <a:pt x="581" y="547"/>
                  </a:cubicBezTo>
                  <a:cubicBezTo>
                    <a:pt x="707" y="422"/>
                    <a:pt x="707" y="218"/>
                    <a:pt x="581" y="92"/>
                  </a:cubicBezTo>
                  <a:cubicBezTo>
                    <a:pt x="528" y="39"/>
                    <a:pt x="462" y="9"/>
                    <a:pt x="3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1" name="Freeform 51">
              <a:extLst>
                <a:ext uri="{FF2B5EF4-FFF2-40B4-BE49-F238E27FC236}">
                  <a16:creationId xmlns:a16="http://schemas.microsoft.com/office/drawing/2014/main" id="{F637F560-FC74-5B4F-BA67-569268606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6" y="1121"/>
              <a:ext cx="716" cy="1124"/>
            </a:xfrm>
            <a:custGeom>
              <a:avLst/>
              <a:gdLst>
                <a:gd name="T0" fmla="*/ 150 w 716"/>
                <a:gd name="T1" fmla="*/ 0 h 1124"/>
                <a:gd name="T2" fmla="*/ 716 w 716"/>
                <a:gd name="T3" fmla="*/ 565 h 1124"/>
                <a:gd name="T4" fmla="*/ 150 w 716"/>
                <a:gd name="T5" fmla="*/ 1124 h 1124"/>
                <a:gd name="T6" fmla="*/ 0 w 716"/>
                <a:gd name="T7" fmla="*/ 967 h 1124"/>
                <a:gd name="T8" fmla="*/ 409 w 716"/>
                <a:gd name="T9" fmla="*/ 559 h 1124"/>
                <a:gd name="T10" fmla="*/ 0 w 716"/>
                <a:gd name="T11" fmla="*/ 150 h 1124"/>
                <a:gd name="T12" fmla="*/ 150 w 716"/>
                <a:gd name="T13" fmla="*/ 0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6" h="1124">
                  <a:moveTo>
                    <a:pt x="150" y="0"/>
                  </a:moveTo>
                  <a:lnTo>
                    <a:pt x="716" y="565"/>
                  </a:lnTo>
                  <a:lnTo>
                    <a:pt x="150" y="1124"/>
                  </a:lnTo>
                  <a:lnTo>
                    <a:pt x="0" y="967"/>
                  </a:lnTo>
                  <a:lnTo>
                    <a:pt x="409" y="559"/>
                  </a:lnTo>
                  <a:lnTo>
                    <a:pt x="0" y="15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2" name="Freeform 52">
              <a:extLst>
                <a:ext uri="{FF2B5EF4-FFF2-40B4-BE49-F238E27FC236}">
                  <a16:creationId xmlns:a16="http://schemas.microsoft.com/office/drawing/2014/main" id="{E3C00131-A9B1-1610-6EC7-F6B56DDE97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6" y="1121"/>
              <a:ext cx="716" cy="1124"/>
            </a:xfrm>
            <a:custGeom>
              <a:avLst/>
              <a:gdLst>
                <a:gd name="T0" fmla="*/ 150 w 716"/>
                <a:gd name="T1" fmla="*/ 0 h 1124"/>
                <a:gd name="T2" fmla="*/ 716 w 716"/>
                <a:gd name="T3" fmla="*/ 565 h 1124"/>
                <a:gd name="T4" fmla="*/ 150 w 716"/>
                <a:gd name="T5" fmla="*/ 1124 h 1124"/>
                <a:gd name="T6" fmla="*/ 0 w 716"/>
                <a:gd name="T7" fmla="*/ 967 h 1124"/>
                <a:gd name="T8" fmla="*/ 409 w 716"/>
                <a:gd name="T9" fmla="*/ 559 h 1124"/>
                <a:gd name="T10" fmla="*/ 0 w 716"/>
                <a:gd name="T11" fmla="*/ 150 h 1124"/>
                <a:gd name="T12" fmla="*/ 150 w 716"/>
                <a:gd name="T13" fmla="*/ 0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6" h="1124">
                  <a:moveTo>
                    <a:pt x="150" y="0"/>
                  </a:moveTo>
                  <a:lnTo>
                    <a:pt x="716" y="565"/>
                  </a:lnTo>
                  <a:lnTo>
                    <a:pt x="150" y="1124"/>
                  </a:lnTo>
                  <a:lnTo>
                    <a:pt x="0" y="967"/>
                  </a:lnTo>
                  <a:lnTo>
                    <a:pt x="409" y="559"/>
                  </a:lnTo>
                  <a:lnTo>
                    <a:pt x="0" y="150"/>
                  </a:lnTo>
                  <a:lnTo>
                    <a:pt x="1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sp>
        <p:nvSpPr>
          <p:cNvPr id="93" name="Grafik 308">
            <a:extLst>
              <a:ext uri="{FF2B5EF4-FFF2-40B4-BE49-F238E27FC236}">
                <a16:creationId xmlns:a16="http://schemas.microsoft.com/office/drawing/2014/main" id="{8805394C-8F1E-8627-49FF-B5C7C61CA373}"/>
              </a:ext>
            </a:extLst>
          </p:cNvPr>
          <p:cNvSpPr>
            <a:spLocks noChangeAspect="1"/>
          </p:cNvSpPr>
          <p:nvPr/>
        </p:nvSpPr>
        <p:spPr bwMode="gray">
          <a:xfrm>
            <a:off x="5565083" y="2453832"/>
            <a:ext cx="339750" cy="360000"/>
          </a:xfrm>
          <a:custGeom>
            <a:avLst/>
            <a:gdLst>
              <a:gd name="connsiteX0" fmla="*/ 0 w 6472237"/>
              <a:gd name="connsiteY0" fmla="*/ 1143314 h 6858000"/>
              <a:gd name="connsiteX1" fmla="*/ 6475752 w 6472237"/>
              <a:gd name="connsiteY1" fmla="*/ 1143314 h 6858000"/>
              <a:gd name="connsiteX2" fmla="*/ 6475752 w 6472237"/>
              <a:gd name="connsiteY2" fmla="*/ 2286114 h 6858000"/>
              <a:gd name="connsiteX3" fmla="*/ 0 w 6472237"/>
              <a:gd name="connsiteY3" fmla="*/ 2286114 h 6858000"/>
              <a:gd name="connsiteX4" fmla="*/ 0 w 6472237"/>
              <a:gd name="connsiteY4" fmla="*/ 1143314 h 6858000"/>
              <a:gd name="connsiteX5" fmla="*/ 600 w 6472237"/>
              <a:gd name="connsiteY5" fmla="*/ 6659032 h 6858000"/>
              <a:gd name="connsiteX6" fmla="*/ 600 w 6472237"/>
              <a:gd name="connsiteY6" fmla="*/ 2667676 h 6858000"/>
              <a:gd name="connsiteX7" fmla="*/ 385677 w 6472237"/>
              <a:gd name="connsiteY7" fmla="*/ 2667676 h 6858000"/>
              <a:gd name="connsiteX8" fmla="*/ 385677 w 6472237"/>
              <a:gd name="connsiteY8" fmla="*/ 6476352 h 6858000"/>
              <a:gd name="connsiteX9" fmla="*/ 6092733 w 6472237"/>
              <a:gd name="connsiteY9" fmla="*/ 6476352 h 6858000"/>
              <a:gd name="connsiteX10" fmla="*/ 6092733 w 6472237"/>
              <a:gd name="connsiteY10" fmla="*/ 2667076 h 6858000"/>
              <a:gd name="connsiteX11" fmla="*/ 6476352 w 6472237"/>
              <a:gd name="connsiteY11" fmla="*/ 2667076 h 6858000"/>
              <a:gd name="connsiteX12" fmla="*/ 6476352 w 6472237"/>
              <a:gd name="connsiteY12" fmla="*/ 6659032 h 6858000"/>
              <a:gd name="connsiteX13" fmla="*/ 6268383 w 6472237"/>
              <a:gd name="connsiteY13" fmla="*/ 6856200 h 6858000"/>
              <a:gd name="connsiteX14" fmla="*/ 219199 w 6472237"/>
              <a:gd name="connsiteY14" fmla="*/ 6856200 h 6858000"/>
              <a:gd name="connsiteX15" fmla="*/ 600 w 6472237"/>
              <a:gd name="connsiteY15" fmla="*/ 6659032 h 6858000"/>
              <a:gd name="connsiteX16" fmla="*/ 755752 w 6472237"/>
              <a:gd name="connsiteY16" fmla="*/ 0 h 6858000"/>
              <a:gd name="connsiteX17" fmla="*/ 1142543 w 6472237"/>
              <a:gd name="connsiteY17" fmla="*/ 0 h 6858000"/>
              <a:gd name="connsiteX18" fmla="*/ 1142543 w 6472237"/>
              <a:gd name="connsiteY18" fmla="*/ 759352 h 6858000"/>
              <a:gd name="connsiteX19" fmla="*/ 755752 w 6472237"/>
              <a:gd name="connsiteY19" fmla="*/ 759352 h 6858000"/>
              <a:gd name="connsiteX20" fmla="*/ 755752 w 6472237"/>
              <a:gd name="connsiteY20" fmla="*/ 0 h 6858000"/>
              <a:gd name="connsiteX21" fmla="*/ 5332952 w 6472237"/>
              <a:gd name="connsiteY21" fmla="*/ 0 h 6858000"/>
              <a:gd name="connsiteX22" fmla="*/ 5713314 w 6472237"/>
              <a:gd name="connsiteY22" fmla="*/ 0 h 6858000"/>
              <a:gd name="connsiteX23" fmla="*/ 5713314 w 6472237"/>
              <a:gd name="connsiteY23" fmla="*/ 759352 h 6858000"/>
              <a:gd name="connsiteX24" fmla="*/ 5332952 w 6472237"/>
              <a:gd name="connsiteY24" fmla="*/ 759352 h 6858000"/>
              <a:gd name="connsiteX25" fmla="*/ 5332952 w 6472237"/>
              <a:gd name="connsiteY25" fmla="*/ 0 h 6858000"/>
              <a:gd name="connsiteX26" fmla="*/ 3231404 w 6472237"/>
              <a:gd name="connsiteY26" fmla="*/ 3035008 h 6858000"/>
              <a:gd name="connsiteX27" fmla="*/ 1711328 w 6472237"/>
              <a:gd name="connsiteY27" fmla="*/ 4562371 h 6858000"/>
              <a:gd name="connsiteX28" fmla="*/ 3238691 w 6472237"/>
              <a:gd name="connsiteY28" fmla="*/ 6082446 h 6858000"/>
              <a:gd name="connsiteX29" fmla="*/ 4758766 w 6472237"/>
              <a:gd name="connsiteY29" fmla="*/ 4562371 h 6858000"/>
              <a:gd name="connsiteX30" fmla="*/ 3231404 w 6472237"/>
              <a:gd name="connsiteY30" fmla="*/ 3035008 h 6858000"/>
              <a:gd name="connsiteX31" fmla="*/ 3812705 w 6472237"/>
              <a:gd name="connsiteY31" fmla="*/ 4006787 h 6858000"/>
              <a:gd name="connsiteX32" fmla="*/ 3431572 w 6472237"/>
              <a:gd name="connsiteY32" fmla="*/ 3881800 h 6858000"/>
              <a:gd name="connsiteX33" fmla="*/ 2941482 w 6472237"/>
              <a:gd name="connsiteY33" fmla="*/ 4216041 h 6858000"/>
              <a:gd name="connsiteX34" fmla="*/ 3501266 w 6472237"/>
              <a:gd name="connsiteY34" fmla="*/ 4216041 h 6858000"/>
              <a:gd name="connsiteX35" fmla="*/ 3454632 w 6472237"/>
              <a:gd name="connsiteY35" fmla="*/ 4472788 h 6858000"/>
              <a:gd name="connsiteX36" fmla="*/ 2886875 w 6472237"/>
              <a:gd name="connsiteY36" fmla="*/ 4472788 h 6858000"/>
              <a:gd name="connsiteX37" fmla="*/ 2879246 w 6472237"/>
              <a:gd name="connsiteY37" fmla="*/ 4558341 h 6858000"/>
              <a:gd name="connsiteX38" fmla="*/ 2886875 w 6472237"/>
              <a:gd name="connsiteY38" fmla="*/ 4659668 h 6858000"/>
              <a:gd name="connsiteX39" fmla="*/ 3423599 w 6472237"/>
              <a:gd name="connsiteY39" fmla="*/ 4659668 h 6858000"/>
              <a:gd name="connsiteX40" fmla="*/ 3377137 w 6472237"/>
              <a:gd name="connsiteY40" fmla="*/ 4908614 h 6858000"/>
              <a:gd name="connsiteX41" fmla="*/ 2949369 w 6472237"/>
              <a:gd name="connsiteY41" fmla="*/ 4908614 h 6858000"/>
              <a:gd name="connsiteX42" fmla="*/ 3431400 w 6472237"/>
              <a:gd name="connsiteY42" fmla="*/ 5242684 h 6858000"/>
              <a:gd name="connsiteX43" fmla="*/ 3812534 w 6472237"/>
              <a:gd name="connsiteY43" fmla="*/ 5110325 h 6858000"/>
              <a:gd name="connsiteX44" fmla="*/ 3812534 w 6472237"/>
              <a:gd name="connsiteY44" fmla="*/ 5515033 h 6858000"/>
              <a:gd name="connsiteX45" fmla="*/ 3408169 w 6472237"/>
              <a:gd name="connsiteY45" fmla="*/ 5608558 h 6858000"/>
              <a:gd name="connsiteX46" fmla="*/ 2521601 w 6472237"/>
              <a:gd name="connsiteY46" fmla="*/ 4908614 h 6858000"/>
              <a:gd name="connsiteX47" fmla="*/ 2319290 w 6472237"/>
              <a:gd name="connsiteY47" fmla="*/ 4908614 h 6858000"/>
              <a:gd name="connsiteX48" fmla="*/ 2319290 w 6472237"/>
              <a:gd name="connsiteY48" fmla="*/ 4659668 h 6858000"/>
              <a:gd name="connsiteX49" fmla="*/ 2482682 w 6472237"/>
              <a:gd name="connsiteY49" fmla="*/ 4659668 h 6858000"/>
              <a:gd name="connsiteX50" fmla="*/ 2474709 w 6472237"/>
              <a:gd name="connsiteY50" fmla="*/ 4558341 h 6858000"/>
              <a:gd name="connsiteX51" fmla="*/ 2482682 w 6472237"/>
              <a:gd name="connsiteY51" fmla="*/ 4472788 h 6858000"/>
              <a:gd name="connsiteX52" fmla="*/ 2319290 w 6472237"/>
              <a:gd name="connsiteY52" fmla="*/ 4472788 h 6858000"/>
              <a:gd name="connsiteX53" fmla="*/ 2319290 w 6472237"/>
              <a:gd name="connsiteY53" fmla="*/ 4216041 h 6858000"/>
              <a:gd name="connsiteX54" fmla="*/ 2521601 w 6472237"/>
              <a:gd name="connsiteY54" fmla="*/ 4216041 h 6858000"/>
              <a:gd name="connsiteX55" fmla="*/ 3415798 w 6472237"/>
              <a:gd name="connsiteY55" fmla="*/ 3508467 h 6858000"/>
              <a:gd name="connsiteX56" fmla="*/ 3812534 w 6472237"/>
              <a:gd name="connsiteY56" fmla="*/ 3609623 h 6858000"/>
              <a:gd name="connsiteX57" fmla="*/ 3812534 w 6472237"/>
              <a:gd name="connsiteY57" fmla="*/ 4006701 h 6858000"/>
              <a:gd name="connsiteX58" fmla="*/ 3812705 w 6472237"/>
              <a:gd name="connsiteY58" fmla="*/ 4006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6472237" h="6858000">
                <a:moveTo>
                  <a:pt x="0" y="1143314"/>
                </a:moveTo>
                <a:lnTo>
                  <a:pt x="6475752" y="1143314"/>
                </a:lnTo>
                <a:lnTo>
                  <a:pt x="6475752" y="2286114"/>
                </a:lnTo>
                <a:lnTo>
                  <a:pt x="0" y="2286114"/>
                </a:lnTo>
                <a:cubicBezTo>
                  <a:pt x="0" y="2286114"/>
                  <a:pt x="0" y="1143314"/>
                  <a:pt x="0" y="1143314"/>
                </a:cubicBezTo>
                <a:close/>
                <a:moveTo>
                  <a:pt x="600" y="6659032"/>
                </a:moveTo>
                <a:lnTo>
                  <a:pt x="600" y="2667676"/>
                </a:lnTo>
                <a:lnTo>
                  <a:pt x="385677" y="2667676"/>
                </a:lnTo>
                <a:lnTo>
                  <a:pt x="385677" y="6476352"/>
                </a:lnTo>
                <a:lnTo>
                  <a:pt x="6092733" y="6476352"/>
                </a:lnTo>
                <a:lnTo>
                  <a:pt x="6092733" y="2667076"/>
                </a:lnTo>
                <a:lnTo>
                  <a:pt x="6476352" y="2667076"/>
                </a:lnTo>
                <a:lnTo>
                  <a:pt x="6476352" y="6659032"/>
                </a:lnTo>
                <a:cubicBezTo>
                  <a:pt x="6481667" y="6780934"/>
                  <a:pt x="6382827" y="6872316"/>
                  <a:pt x="6268383" y="6856200"/>
                </a:cubicBezTo>
                <a:lnTo>
                  <a:pt x="219199" y="6856200"/>
                </a:lnTo>
                <a:cubicBezTo>
                  <a:pt x="97298" y="6872316"/>
                  <a:pt x="5915" y="6780934"/>
                  <a:pt x="600" y="6659032"/>
                </a:cubicBezTo>
                <a:close/>
                <a:moveTo>
                  <a:pt x="755752" y="0"/>
                </a:moveTo>
                <a:lnTo>
                  <a:pt x="1142543" y="0"/>
                </a:lnTo>
                <a:lnTo>
                  <a:pt x="1142543" y="759352"/>
                </a:lnTo>
                <a:lnTo>
                  <a:pt x="755752" y="759352"/>
                </a:lnTo>
                <a:lnTo>
                  <a:pt x="755752" y="0"/>
                </a:lnTo>
                <a:close/>
                <a:moveTo>
                  <a:pt x="5332952" y="0"/>
                </a:moveTo>
                <a:lnTo>
                  <a:pt x="5713314" y="0"/>
                </a:lnTo>
                <a:lnTo>
                  <a:pt x="5713314" y="759352"/>
                </a:lnTo>
                <a:lnTo>
                  <a:pt x="5332952" y="759352"/>
                </a:lnTo>
                <a:cubicBezTo>
                  <a:pt x="5332952" y="759352"/>
                  <a:pt x="5332952" y="0"/>
                  <a:pt x="5332952" y="0"/>
                </a:cubicBezTo>
                <a:close/>
                <a:moveTo>
                  <a:pt x="3231404" y="3035008"/>
                </a:moveTo>
                <a:cubicBezTo>
                  <a:pt x="2385212" y="3035008"/>
                  <a:pt x="1711328" y="3738982"/>
                  <a:pt x="1711328" y="4562371"/>
                </a:cubicBezTo>
                <a:cubicBezTo>
                  <a:pt x="1711328" y="5371272"/>
                  <a:pt x="2369953" y="6082446"/>
                  <a:pt x="3238691" y="6082446"/>
                </a:cubicBezTo>
                <a:cubicBezTo>
                  <a:pt x="4084882" y="6082446"/>
                  <a:pt x="4758766" y="5408562"/>
                  <a:pt x="4758766" y="4562371"/>
                </a:cubicBezTo>
                <a:cubicBezTo>
                  <a:pt x="4758766" y="3738810"/>
                  <a:pt x="4107342" y="3035008"/>
                  <a:pt x="3231404" y="3035008"/>
                </a:cubicBezTo>
                <a:close/>
                <a:moveTo>
                  <a:pt x="3812705" y="4006787"/>
                </a:moveTo>
                <a:cubicBezTo>
                  <a:pt x="3695948" y="3920719"/>
                  <a:pt x="3563760" y="3881800"/>
                  <a:pt x="3431572" y="3881800"/>
                </a:cubicBezTo>
                <a:cubicBezTo>
                  <a:pt x="3213830" y="3881800"/>
                  <a:pt x="3034836" y="4006787"/>
                  <a:pt x="2941482" y="4216041"/>
                </a:cubicBezTo>
                <a:lnTo>
                  <a:pt x="3501266" y="4216041"/>
                </a:lnTo>
                <a:lnTo>
                  <a:pt x="3454632" y="4472788"/>
                </a:lnTo>
                <a:lnTo>
                  <a:pt x="2886875" y="4472788"/>
                </a:lnTo>
                <a:lnTo>
                  <a:pt x="2879246" y="4558341"/>
                </a:lnTo>
                <a:lnTo>
                  <a:pt x="2886875" y="4659668"/>
                </a:lnTo>
                <a:lnTo>
                  <a:pt x="3423599" y="4659668"/>
                </a:lnTo>
                <a:lnTo>
                  <a:pt x="3377137" y="4908614"/>
                </a:lnTo>
                <a:lnTo>
                  <a:pt x="2949369" y="4908614"/>
                </a:lnTo>
                <a:cubicBezTo>
                  <a:pt x="3042895" y="5118726"/>
                  <a:pt x="3213745" y="5242684"/>
                  <a:pt x="3431400" y="5242684"/>
                </a:cubicBezTo>
                <a:cubicBezTo>
                  <a:pt x="3563588" y="5242684"/>
                  <a:pt x="3695776" y="5196050"/>
                  <a:pt x="3812534" y="5110325"/>
                </a:cubicBezTo>
                <a:lnTo>
                  <a:pt x="3812534" y="5515033"/>
                </a:lnTo>
                <a:cubicBezTo>
                  <a:pt x="3695776" y="5577354"/>
                  <a:pt x="3563588" y="5608558"/>
                  <a:pt x="3408169" y="5608558"/>
                </a:cubicBezTo>
                <a:cubicBezTo>
                  <a:pt x="2980401" y="5608558"/>
                  <a:pt x="2638273" y="5343840"/>
                  <a:pt x="2521601" y="4908614"/>
                </a:cubicBezTo>
                <a:lnTo>
                  <a:pt x="2319290" y="4908614"/>
                </a:lnTo>
                <a:lnTo>
                  <a:pt x="2319290" y="4659668"/>
                </a:lnTo>
                <a:lnTo>
                  <a:pt x="2482682" y="4659668"/>
                </a:lnTo>
                <a:cubicBezTo>
                  <a:pt x="2474709" y="4636008"/>
                  <a:pt x="2474709" y="4604976"/>
                  <a:pt x="2474709" y="4558341"/>
                </a:cubicBezTo>
                <a:lnTo>
                  <a:pt x="2482682" y="4472788"/>
                </a:lnTo>
                <a:lnTo>
                  <a:pt x="2319290" y="4472788"/>
                </a:lnTo>
                <a:lnTo>
                  <a:pt x="2319290" y="4216041"/>
                </a:lnTo>
                <a:lnTo>
                  <a:pt x="2521601" y="4216041"/>
                </a:lnTo>
                <a:cubicBezTo>
                  <a:pt x="2638187" y="3780987"/>
                  <a:pt x="2980401" y="3508467"/>
                  <a:pt x="3415798" y="3508467"/>
                </a:cubicBezTo>
                <a:cubicBezTo>
                  <a:pt x="3563588" y="3508467"/>
                  <a:pt x="3695605" y="3539928"/>
                  <a:pt x="3812534" y="3609623"/>
                </a:cubicBezTo>
                <a:lnTo>
                  <a:pt x="3812534" y="4006701"/>
                </a:lnTo>
                <a:lnTo>
                  <a:pt x="3812705" y="4006701"/>
                </a:lnTo>
                <a:close/>
              </a:path>
            </a:pathLst>
          </a:custGeom>
          <a:solidFill>
            <a:schemeClr val="bg1"/>
          </a:solidFill>
          <a:ln w="8567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100" dirty="0"/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61C2B912-2641-B9AC-D2A1-AB3DB62C830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02175" y="3484447"/>
            <a:ext cx="396000" cy="364878"/>
            <a:chOff x="1036638" y="2735263"/>
            <a:chExt cx="585787" cy="539750"/>
          </a:xfrm>
          <a:solidFill>
            <a:schemeClr val="bg1"/>
          </a:solidFill>
        </p:grpSpPr>
        <p:sp>
          <p:nvSpPr>
            <p:cNvPr id="95" name="Freeform 32">
              <a:extLst>
                <a:ext uri="{FF2B5EF4-FFF2-40B4-BE49-F238E27FC236}">
                  <a16:creationId xmlns:a16="http://schemas.microsoft.com/office/drawing/2014/main" id="{860235F4-A2C9-DB21-78D7-25C7B8FED1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6638" y="3128963"/>
              <a:ext cx="585787" cy="146050"/>
            </a:xfrm>
            <a:custGeom>
              <a:avLst/>
              <a:gdLst>
                <a:gd name="T0" fmla="*/ 16320 w 16320"/>
                <a:gd name="T1" fmla="*/ 187 h 4079"/>
                <a:gd name="T2" fmla="*/ 13974 w 16320"/>
                <a:gd name="T3" fmla="*/ 1103 h 4079"/>
                <a:gd name="T4" fmla="*/ 11075 w 16320"/>
                <a:gd name="T5" fmla="*/ 0 h 4079"/>
                <a:gd name="T6" fmla="*/ 8182 w 16320"/>
                <a:gd name="T7" fmla="*/ 1103 h 4079"/>
                <a:gd name="T8" fmla="*/ 5374 w 16320"/>
                <a:gd name="T9" fmla="*/ 48 h 4079"/>
                <a:gd name="T10" fmla="*/ 2523 w 16320"/>
                <a:gd name="T11" fmla="*/ 1103 h 4079"/>
                <a:gd name="T12" fmla="*/ 0 w 16320"/>
                <a:gd name="T13" fmla="*/ 109 h 4079"/>
                <a:gd name="T14" fmla="*/ 0 w 16320"/>
                <a:gd name="T15" fmla="*/ 3185 h 4079"/>
                <a:gd name="T16" fmla="*/ 2523 w 16320"/>
                <a:gd name="T17" fmla="*/ 4079 h 4079"/>
                <a:gd name="T18" fmla="*/ 5370 w 16320"/>
                <a:gd name="T19" fmla="*/ 3134 h 4079"/>
                <a:gd name="T20" fmla="*/ 8182 w 16320"/>
                <a:gd name="T21" fmla="*/ 4079 h 4079"/>
                <a:gd name="T22" fmla="*/ 11071 w 16320"/>
                <a:gd name="T23" fmla="*/ 3089 h 4079"/>
                <a:gd name="T24" fmla="*/ 13974 w 16320"/>
                <a:gd name="T25" fmla="*/ 4079 h 4079"/>
                <a:gd name="T26" fmla="*/ 16320 w 16320"/>
                <a:gd name="T27" fmla="*/ 3244 h 4079"/>
                <a:gd name="T28" fmla="*/ 16320 w 16320"/>
                <a:gd name="T29" fmla="*/ 187 h 4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320" h="4079">
                  <a:moveTo>
                    <a:pt x="16320" y="187"/>
                  </a:moveTo>
                  <a:cubicBezTo>
                    <a:pt x="15185" y="999"/>
                    <a:pt x="14439" y="1103"/>
                    <a:pt x="13974" y="1103"/>
                  </a:cubicBezTo>
                  <a:cubicBezTo>
                    <a:pt x="13190" y="1103"/>
                    <a:pt x="12133" y="885"/>
                    <a:pt x="11075" y="0"/>
                  </a:cubicBezTo>
                  <a:cubicBezTo>
                    <a:pt x="9994" y="886"/>
                    <a:pt x="8949" y="1103"/>
                    <a:pt x="8182" y="1103"/>
                  </a:cubicBezTo>
                  <a:cubicBezTo>
                    <a:pt x="7421" y="1103"/>
                    <a:pt x="6398" y="893"/>
                    <a:pt x="5374" y="48"/>
                  </a:cubicBezTo>
                  <a:cubicBezTo>
                    <a:pt x="4318" y="894"/>
                    <a:pt x="3284" y="1103"/>
                    <a:pt x="2523" y="1103"/>
                  </a:cubicBezTo>
                  <a:cubicBezTo>
                    <a:pt x="1533" y="1103"/>
                    <a:pt x="830" y="749"/>
                    <a:pt x="0" y="109"/>
                  </a:cubicBezTo>
                  <a:cubicBezTo>
                    <a:pt x="0" y="3185"/>
                    <a:pt x="0" y="3185"/>
                    <a:pt x="0" y="3185"/>
                  </a:cubicBezTo>
                  <a:cubicBezTo>
                    <a:pt x="840" y="3759"/>
                    <a:pt x="1542" y="4079"/>
                    <a:pt x="2523" y="4079"/>
                  </a:cubicBezTo>
                  <a:cubicBezTo>
                    <a:pt x="3533" y="4079"/>
                    <a:pt x="4497" y="3756"/>
                    <a:pt x="5370" y="3134"/>
                  </a:cubicBezTo>
                  <a:cubicBezTo>
                    <a:pt x="6222" y="3756"/>
                    <a:pt x="7174" y="4079"/>
                    <a:pt x="8182" y="4079"/>
                  </a:cubicBezTo>
                  <a:cubicBezTo>
                    <a:pt x="9200" y="4079"/>
                    <a:pt x="10180" y="3741"/>
                    <a:pt x="11071" y="3089"/>
                  </a:cubicBezTo>
                  <a:cubicBezTo>
                    <a:pt x="11951" y="3741"/>
                    <a:pt x="12933" y="4079"/>
                    <a:pt x="13974" y="4079"/>
                  </a:cubicBezTo>
                  <a:cubicBezTo>
                    <a:pt x="14974" y="4079"/>
                    <a:pt x="15544" y="3759"/>
                    <a:pt x="16320" y="3244"/>
                  </a:cubicBezTo>
                  <a:lnTo>
                    <a:pt x="16320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6" name="Freeform 33">
              <a:extLst>
                <a:ext uri="{FF2B5EF4-FFF2-40B4-BE49-F238E27FC236}">
                  <a16:creationId xmlns:a16="http://schemas.microsoft.com/office/drawing/2014/main" id="{A202512C-66B0-DB92-28AE-CFD3DC85228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09688" y="2735263"/>
              <a:ext cx="39687" cy="85725"/>
            </a:xfrm>
            <a:custGeom>
              <a:avLst/>
              <a:gdLst>
                <a:gd name="T0" fmla="*/ 25 w 25"/>
                <a:gd name="T1" fmla="*/ 54 h 54"/>
                <a:gd name="T2" fmla="*/ 0 w 25"/>
                <a:gd name="T3" fmla="*/ 54 h 54"/>
                <a:gd name="T4" fmla="*/ 0 w 25"/>
                <a:gd name="T5" fmla="*/ 0 h 54"/>
                <a:gd name="T6" fmla="*/ 25 w 25"/>
                <a:gd name="T7" fmla="*/ 0 h 54"/>
                <a:gd name="T8" fmla="*/ 25 w 25"/>
                <a:gd name="T9" fmla="*/ 54 h 54"/>
                <a:gd name="T10" fmla="*/ 25 w 25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54">
                  <a:moveTo>
                    <a:pt x="25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54"/>
                  </a:lnTo>
                  <a:lnTo>
                    <a:pt x="25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7" name="Freeform 34">
              <a:extLst>
                <a:ext uri="{FF2B5EF4-FFF2-40B4-BE49-F238E27FC236}">
                  <a16:creationId xmlns:a16="http://schemas.microsoft.com/office/drawing/2014/main" id="{4B4DDBEF-08C5-90E0-39CE-99D444C05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3475" y="2776538"/>
              <a:ext cx="79375" cy="92075"/>
            </a:xfrm>
            <a:custGeom>
              <a:avLst/>
              <a:gdLst>
                <a:gd name="T0" fmla="*/ 30 w 50"/>
                <a:gd name="T1" fmla="*/ 58 h 58"/>
                <a:gd name="T2" fmla="*/ 0 w 50"/>
                <a:gd name="T3" fmla="*/ 13 h 58"/>
                <a:gd name="T4" fmla="*/ 21 w 50"/>
                <a:gd name="T5" fmla="*/ 0 h 58"/>
                <a:gd name="T6" fmla="*/ 50 w 50"/>
                <a:gd name="T7" fmla="*/ 45 h 58"/>
                <a:gd name="T8" fmla="*/ 30 w 50"/>
                <a:gd name="T9" fmla="*/ 58 h 58"/>
                <a:gd name="T10" fmla="*/ 30 w 50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58">
                  <a:moveTo>
                    <a:pt x="30" y="58"/>
                  </a:moveTo>
                  <a:lnTo>
                    <a:pt x="0" y="13"/>
                  </a:lnTo>
                  <a:lnTo>
                    <a:pt x="21" y="0"/>
                  </a:lnTo>
                  <a:lnTo>
                    <a:pt x="50" y="45"/>
                  </a:lnTo>
                  <a:lnTo>
                    <a:pt x="30" y="58"/>
                  </a:lnTo>
                  <a:lnTo>
                    <a:pt x="3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8" name="Freeform 35">
              <a:extLst>
                <a:ext uri="{FF2B5EF4-FFF2-40B4-BE49-F238E27FC236}">
                  <a16:creationId xmlns:a16="http://schemas.microsoft.com/office/drawing/2014/main" id="{329801D2-D3BF-8D6F-EDCA-7344216E6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6638" y="2903538"/>
              <a:ext cx="95250" cy="66675"/>
            </a:xfrm>
            <a:custGeom>
              <a:avLst/>
              <a:gdLst>
                <a:gd name="T0" fmla="*/ 0 w 60"/>
                <a:gd name="T1" fmla="*/ 22 h 42"/>
                <a:gd name="T2" fmla="*/ 51 w 60"/>
                <a:gd name="T3" fmla="*/ 42 h 42"/>
                <a:gd name="T4" fmla="*/ 60 w 60"/>
                <a:gd name="T5" fmla="*/ 19 h 42"/>
                <a:gd name="T6" fmla="*/ 9 w 60"/>
                <a:gd name="T7" fmla="*/ 0 h 42"/>
                <a:gd name="T8" fmla="*/ 0 w 60"/>
                <a:gd name="T9" fmla="*/ 22 h 42"/>
                <a:gd name="T10" fmla="*/ 0 w 60"/>
                <a:gd name="T11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2">
                  <a:moveTo>
                    <a:pt x="0" y="22"/>
                  </a:moveTo>
                  <a:lnTo>
                    <a:pt x="51" y="42"/>
                  </a:lnTo>
                  <a:lnTo>
                    <a:pt x="60" y="19"/>
                  </a:lnTo>
                  <a:lnTo>
                    <a:pt x="9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99" name="Freeform 36">
              <a:extLst>
                <a:ext uri="{FF2B5EF4-FFF2-40B4-BE49-F238E27FC236}">
                  <a16:creationId xmlns:a16="http://schemas.microsoft.com/office/drawing/2014/main" id="{F0560574-FB7D-ED15-6CB0-52EA2B3DD2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4113" y="2868613"/>
              <a:ext cx="350837" cy="174625"/>
            </a:xfrm>
            <a:custGeom>
              <a:avLst/>
              <a:gdLst>
                <a:gd name="T0" fmla="*/ 8707 w 9787"/>
                <a:gd name="T1" fmla="*/ 4890 h 4890"/>
                <a:gd name="T2" fmla="*/ 4893 w 9787"/>
                <a:gd name="T3" fmla="*/ 1079 h 4890"/>
                <a:gd name="T4" fmla="*/ 1080 w 9787"/>
                <a:gd name="T5" fmla="*/ 4890 h 4890"/>
                <a:gd name="T6" fmla="*/ 0 w 9787"/>
                <a:gd name="T7" fmla="*/ 4889 h 4890"/>
                <a:gd name="T8" fmla="*/ 4893 w 9787"/>
                <a:gd name="T9" fmla="*/ 0 h 4890"/>
                <a:gd name="T10" fmla="*/ 9787 w 9787"/>
                <a:gd name="T11" fmla="*/ 4889 h 4890"/>
                <a:gd name="T12" fmla="*/ 8707 w 9787"/>
                <a:gd name="T13" fmla="*/ 4890 h 4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87" h="4890">
                  <a:moveTo>
                    <a:pt x="8707" y="4890"/>
                  </a:moveTo>
                  <a:cubicBezTo>
                    <a:pt x="8704" y="2789"/>
                    <a:pt x="6994" y="1079"/>
                    <a:pt x="4893" y="1079"/>
                  </a:cubicBezTo>
                  <a:cubicBezTo>
                    <a:pt x="2792" y="1079"/>
                    <a:pt x="1082" y="2789"/>
                    <a:pt x="1080" y="4890"/>
                  </a:cubicBezTo>
                  <a:cubicBezTo>
                    <a:pt x="0" y="4889"/>
                    <a:pt x="0" y="4889"/>
                    <a:pt x="0" y="4889"/>
                  </a:cubicBezTo>
                  <a:cubicBezTo>
                    <a:pt x="2" y="2193"/>
                    <a:pt x="2198" y="0"/>
                    <a:pt x="4893" y="0"/>
                  </a:cubicBezTo>
                  <a:cubicBezTo>
                    <a:pt x="7590" y="0"/>
                    <a:pt x="9784" y="2193"/>
                    <a:pt x="9787" y="4889"/>
                  </a:cubicBezTo>
                  <a:lnTo>
                    <a:pt x="8707" y="48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0" name="Freeform 37">
              <a:extLst>
                <a:ext uri="{FF2B5EF4-FFF2-40B4-BE49-F238E27FC236}">
                  <a16:creationId xmlns:a16="http://schemas.microsoft.com/office/drawing/2014/main" id="{5C1B2FE7-A237-E31A-CF6C-C655FCC01142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7800" y="2776538"/>
              <a:ext cx="77787" cy="92075"/>
            </a:xfrm>
            <a:custGeom>
              <a:avLst/>
              <a:gdLst>
                <a:gd name="T0" fmla="*/ 20 w 49"/>
                <a:gd name="T1" fmla="*/ 58 h 58"/>
                <a:gd name="T2" fmla="*/ 0 w 49"/>
                <a:gd name="T3" fmla="*/ 45 h 58"/>
                <a:gd name="T4" fmla="*/ 29 w 49"/>
                <a:gd name="T5" fmla="*/ 0 h 58"/>
                <a:gd name="T6" fmla="*/ 49 w 49"/>
                <a:gd name="T7" fmla="*/ 13 h 58"/>
                <a:gd name="T8" fmla="*/ 20 w 49"/>
                <a:gd name="T9" fmla="*/ 58 h 58"/>
                <a:gd name="T10" fmla="*/ 20 w 49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58">
                  <a:moveTo>
                    <a:pt x="20" y="58"/>
                  </a:moveTo>
                  <a:lnTo>
                    <a:pt x="0" y="45"/>
                  </a:lnTo>
                  <a:lnTo>
                    <a:pt x="29" y="0"/>
                  </a:lnTo>
                  <a:lnTo>
                    <a:pt x="49" y="13"/>
                  </a:lnTo>
                  <a:lnTo>
                    <a:pt x="20" y="58"/>
                  </a:lnTo>
                  <a:lnTo>
                    <a:pt x="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1" name="Freeform 38">
              <a:extLst>
                <a:ext uri="{FF2B5EF4-FFF2-40B4-BE49-F238E27FC236}">
                  <a16:creationId xmlns:a16="http://schemas.microsoft.com/office/drawing/2014/main" id="{940CCC06-038F-7D52-4570-8BDCD4E8A02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7175" y="2903538"/>
              <a:ext cx="93662" cy="66675"/>
            </a:xfrm>
            <a:custGeom>
              <a:avLst/>
              <a:gdLst>
                <a:gd name="T0" fmla="*/ 8 w 59"/>
                <a:gd name="T1" fmla="*/ 42 h 42"/>
                <a:gd name="T2" fmla="*/ 59 w 59"/>
                <a:gd name="T3" fmla="*/ 23 h 42"/>
                <a:gd name="T4" fmla="*/ 50 w 59"/>
                <a:gd name="T5" fmla="*/ 0 h 42"/>
                <a:gd name="T6" fmla="*/ 0 w 59"/>
                <a:gd name="T7" fmla="*/ 19 h 42"/>
                <a:gd name="T8" fmla="*/ 8 w 59"/>
                <a:gd name="T9" fmla="*/ 42 h 42"/>
                <a:gd name="T10" fmla="*/ 8 w 59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2">
                  <a:moveTo>
                    <a:pt x="8" y="42"/>
                  </a:moveTo>
                  <a:lnTo>
                    <a:pt x="59" y="23"/>
                  </a:lnTo>
                  <a:lnTo>
                    <a:pt x="50" y="0"/>
                  </a:lnTo>
                  <a:lnTo>
                    <a:pt x="0" y="19"/>
                  </a:lnTo>
                  <a:lnTo>
                    <a:pt x="8" y="42"/>
                  </a:ln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9554BB0B-A2A7-0CBD-959E-628CC1752EC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92818" y="2430960"/>
            <a:ext cx="360000" cy="374128"/>
            <a:chOff x="7651299" y="892097"/>
            <a:chExt cx="522979" cy="543504"/>
          </a:xfrm>
          <a:solidFill>
            <a:schemeClr val="bg1"/>
          </a:solidFill>
        </p:grpSpPr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3C917F02-F4DF-29DC-381E-EF8E927732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651299" y="947309"/>
              <a:ext cx="522979" cy="488292"/>
            </a:xfrm>
            <a:custGeom>
              <a:avLst/>
              <a:gdLst>
                <a:gd name="connsiteX0" fmla="*/ 135489 w 522979"/>
                <a:gd name="connsiteY0" fmla="*/ 0 h 488292"/>
                <a:gd name="connsiteX1" fmla="*/ 135489 w 522979"/>
                <a:gd name="connsiteY1" fmla="*/ 108898 h 488292"/>
                <a:gd name="connsiteX2" fmla="*/ 100547 w 522979"/>
                <a:gd name="connsiteY2" fmla="*/ 162035 h 488292"/>
                <a:gd name="connsiteX3" fmla="*/ 138460 w 522979"/>
                <a:gd name="connsiteY3" fmla="*/ 350051 h 488292"/>
                <a:gd name="connsiteX4" fmla="*/ 384520 w 522979"/>
                <a:gd name="connsiteY4" fmla="*/ 350051 h 488292"/>
                <a:gd name="connsiteX5" fmla="*/ 422434 w 522979"/>
                <a:gd name="connsiteY5" fmla="*/ 162035 h 488292"/>
                <a:gd name="connsiteX6" fmla="*/ 387489 w 522979"/>
                <a:gd name="connsiteY6" fmla="*/ 108895 h 488292"/>
                <a:gd name="connsiteX7" fmla="*/ 387489 w 522979"/>
                <a:gd name="connsiteY7" fmla="*/ 1159 h 488292"/>
                <a:gd name="connsiteX8" fmla="*/ 446238 w 522979"/>
                <a:gd name="connsiteY8" fmla="*/ 42759 h 488292"/>
                <a:gd name="connsiteX9" fmla="*/ 446238 w 522979"/>
                <a:gd name="connsiteY9" fmla="*/ 411672 h 488292"/>
                <a:gd name="connsiteX10" fmla="*/ 76742 w 522979"/>
                <a:gd name="connsiteY10" fmla="*/ 411672 h 488292"/>
                <a:gd name="connsiteX11" fmla="*/ 76742 w 522979"/>
                <a:gd name="connsiteY11" fmla="*/ 42759 h 488292"/>
                <a:gd name="connsiteX12" fmla="*/ 125670 w 522979"/>
                <a:gd name="connsiteY12" fmla="*/ 4449 h 488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2979" h="488292">
                  <a:moveTo>
                    <a:pt x="135489" y="0"/>
                  </a:moveTo>
                  <a:lnTo>
                    <a:pt x="135489" y="108898"/>
                  </a:lnTo>
                  <a:lnTo>
                    <a:pt x="100547" y="162035"/>
                  </a:lnTo>
                  <a:cubicBezTo>
                    <a:pt x="75271" y="224935"/>
                    <a:pt x="87909" y="299579"/>
                    <a:pt x="138460" y="350051"/>
                  </a:cubicBezTo>
                  <a:cubicBezTo>
                    <a:pt x="206675" y="417347"/>
                    <a:pt x="317118" y="417347"/>
                    <a:pt x="384520" y="350051"/>
                  </a:cubicBezTo>
                  <a:cubicBezTo>
                    <a:pt x="435073" y="299579"/>
                    <a:pt x="447711" y="224935"/>
                    <a:pt x="422434" y="162035"/>
                  </a:cubicBezTo>
                  <a:lnTo>
                    <a:pt x="387489" y="108895"/>
                  </a:lnTo>
                  <a:lnTo>
                    <a:pt x="387489" y="1159"/>
                  </a:lnTo>
                  <a:lnTo>
                    <a:pt x="446238" y="42759"/>
                  </a:lnTo>
                  <a:cubicBezTo>
                    <a:pt x="548560" y="144920"/>
                    <a:pt x="548560" y="310322"/>
                    <a:pt x="446238" y="411672"/>
                  </a:cubicBezTo>
                  <a:cubicBezTo>
                    <a:pt x="344728" y="513832"/>
                    <a:pt x="179064" y="513832"/>
                    <a:pt x="76742" y="411672"/>
                  </a:cubicBezTo>
                  <a:cubicBezTo>
                    <a:pt x="-25580" y="310322"/>
                    <a:pt x="-25580" y="144920"/>
                    <a:pt x="76742" y="42759"/>
                  </a:cubicBezTo>
                  <a:cubicBezTo>
                    <a:pt x="91766" y="27760"/>
                    <a:pt x="108210" y="14990"/>
                    <a:pt x="125670" y="4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100" dirty="0"/>
            </a:p>
          </p:txBody>
        </p:sp>
        <p:sp>
          <p:nvSpPr>
            <p:cNvPr id="104" name="Freeform 46">
              <a:extLst>
                <a:ext uri="{FF2B5EF4-FFF2-40B4-BE49-F238E27FC236}">
                  <a16:creationId xmlns:a16="http://schemas.microsoft.com/office/drawing/2014/main" id="{5CCB993E-F84D-5E54-4F8B-90215D7784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65374" y="1133659"/>
              <a:ext cx="41424" cy="85952"/>
            </a:xfrm>
            <a:custGeom>
              <a:avLst/>
              <a:gdLst>
                <a:gd name="T0" fmla="*/ 307 w 307"/>
                <a:gd name="T1" fmla="*/ 637 h 637"/>
                <a:gd name="T2" fmla="*/ 150 w 307"/>
                <a:gd name="T3" fmla="*/ 637 h 637"/>
                <a:gd name="T4" fmla="*/ 150 w 307"/>
                <a:gd name="T5" fmla="*/ 180 h 637"/>
                <a:gd name="T6" fmla="*/ 0 w 307"/>
                <a:gd name="T7" fmla="*/ 252 h 637"/>
                <a:gd name="T8" fmla="*/ 0 w 307"/>
                <a:gd name="T9" fmla="*/ 90 h 637"/>
                <a:gd name="T10" fmla="*/ 198 w 307"/>
                <a:gd name="T11" fmla="*/ 0 h 637"/>
                <a:gd name="T12" fmla="*/ 307 w 307"/>
                <a:gd name="T13" fmla="*/ 0 h 637"/>
                <a:gd name="T14" fmla="*/ 307 w 307"/>
                <a:gd name="T15" fmla="*/ 63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" h="637">
                  <a:moveTo>
                    <a:pt x="307" y="637"/>
                  </a:moveTo>
                  <a:lnTo>
                    <a:pt x="150" y="637"/>
                  </a:lnTo>
                  <a:lnTo>
                    <a:pt x="150" y="180"/>
                  </a:lnTo>
                  <a:lnTo>
                    <a:pt x="0" y="252"/>
                  </a:lnTo>
                  <a:lnTo>
                    <a:pt x="0" y="90"/>
                  </a:lnTo>
                  <a:lnTo>
                    <a:pt x="198" y="0"/>
                  </a:lnTo>
                  <a:lnTo>
                    <a:pt x="307" y="0"/>
                  </a:lnTo>
                  <a:lnTo>
                    <a:pt x="307" y="6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5" name="Freeform 47">
              <a:extLst>
                <a:ext uri="{FF2B5EF4-FFF2-40B4-BE49-F238E27FC236}">
                  <a16:creationId xmlns:a16="http://schemas.microsoft.com/office/drawing/2014/main" id="{7314DCA3-18CC-4FAE-917F-E2AB45C214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18132" y="1132040"/>
              <a:ext cx="71515" cy="88381"/>
            </a:xfrm>
            <a:custGeom>
              <a:avLst/>
              <a:gdLst>
                <a:gd name="T0" fmla="*/ 0 w 88"/>
                <a:gd name="T1" fmla="*/ 55 h 109"/>
                <a:gd name="T2" fmla="*/ 44 w 88"/>
                <a:gd name="T3" fmla="*/ 0 h 109"/>
                <a:gd name="T4" fmla="*/ 88 w 88"/>
                <a:gd name="T5" fmla="*/ 55 h 109"/>
                <a:gd name="T6" fmla="*/ 44 w 88"/>
                <a:gd name="T7" fmla="*/ 109 h 109"/>
                <a:gd name="T8" fmla="*/ 0 w 88"/>
                <a:gd name="T9" fmla="*/ 55 h 109"/>
                <a:gd name="T10" fmla="*/ 27 w 88"/>
                <a:gd name="T11" fmla="*/ 55 h 109"/>
                <a:gd name="T12" fmla="*/ 44 w 88"/>
                <a:gd name="T13" fmla="*/ 85 h 109"/>
                <a:gd name="T14" fmla="*/ 61 w 88"/>
                <a:gd name="T15" fmla="*/ 55 h 109"/>
                <a:gd name="T16" fmla="*/ 44 w 88"/>
                <a:gd name="T17" fmla="*/ 24 h 109"/>
                <a:gd name="T18" fmla="*/ 27 w 88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109">
                  <a:moveTo>
                    <a:pt x="0" y="55"/>
                  </a:moveTo>
                  <a:cubicBezTo>
                    <a:pt x="0" y="22"/>
                    <a:pt x="18" y="0"/>
                    <a:pt x="44" y="0"/>
                  </a:cubicBezTo>
                  <a:cubicBezTo>
                    <a:pt x="70" y="0"/>
                    <a:pt x="88" y="22"/>
                    <a:pt x="88" y="55"/>
                  </a:cubicBezTo>
                  <a:cubicBezTo>
                    <a:pt x="88" y="87"/>
                    <a:pt x="70" y="109"/>
                    <a:pt x="44" y="109"/>
                  </a:cubicBezTo>
                  <a:cubicBezTo>
                    <a:pt x="18" y="109"/>
                    <a:pt x="0" y="87"/>
                    <a:pt x="0" y="55"/>
                  </a:cubicBezTo>
                  <a:close/>
                  <a:moveTo>
                    <a:pt x="27" y="55"/>
                  </a:moveTo>
                  <a:cubicBezTo>
                    <a:pt x="27" y="71"/>
                    <a:pt x="32" y="85"/>
                    <a:pt x="44" y="85"/>
                  </a:cubicBezTo>
                  <a:cubicBezTo>
                    <a:pt x="56" y="85"/>
                    <a:pt x="61" y="71"/>
                    <a:pt x="61" y="55"/>
                  </a:cubicBezTo>
                  <a:cubicBezTo>
                    <a:pt x="61" y="38"/>
                    <a:pt x="56" y="24"/>
                    <a:pt x="44" y="24"/>
                  </a:cubicBezTo>
                  <a:cubicBezTo>
                    <a:pt x="32" y="24"/>
                    <a:pt x="27" y="38"/>
                    <a:pt x="2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6" name="Freeform 48">
              <a:extLst>
                <a:ext uri="{FF2B5EF4-FFF2-40B4-BE49-F238E27FC236}">
                  <a16:creationId xmlns:a16="http://schemas.microsoft.com/office/drawing/2014/main" id="{EE9E8AD4-04F0-ED2A-6AAD-D6A563B506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96933" y="1132040"/>
              <a:ext cx="70570" cy="88381"/>
            </a:xfrm>
            <a:custGeom>
              <a:avLst/>
              <a:gdLst>
                <a:gd name="T0" fmla="*/ 0 w 87"/>
                <a:gd name="T1" fmla="*/ 55 h 109"/>
                <a:gd name="T2" fmla="*/ 43 w 87"/>
                <a:gd name="T3" fmla="*/ 0 h 109"/>
                <a:gd name="T4" fmla="*/ 87 w 87"/>
                <a:gd name="T5" fmla="*/ 55 h 109"/>
                <a:gd name="T6" fmla="*/ 43 w 87"/>
                <a:gd name="T7" fmla="*/ 109 h 109"/>
                <a:gd name="T8" fmla="*/ 0 w 87"/>
                <a:gd name="T9" fmla="*/ 55 h 109"/>
                <a:gd name="T10" fmla="*/ 26 w 87"/>
                <a:gd name="T11" fmla="*/ 55 h 109"/>
                <a:gd name="T12" fmla="*/ 43 w 87"/>
                <a:gd name="T13" fmla="*/ 85 h 109"/>
                <a:gd name="T14" fmla="*/ 60 w 87"/>
                <a:gd name="T15" fmla="*/ 55 h 109"/>
                <a:gd name="T16" fmla="*/ 43 w 87"/>
                <a:gd name="T17" fmla="*/ 24 h 109"/>
                <a:gd name="T18" fmla="*/ 26 w 87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9">
                  <a:moveTo>
                    <a:pt x="0" y="55"/>
                  </a:moveTo>
                  <a:cubicBezTo>
                    <a:pt x="0" y="22"/>
                    <a:pt x="17" y="0"/>
                    <a:pt x="43" y="0"/>
                  </a:cubicBezTo>
                  <a:cubicBezTo>
                    <a:pt x="69" y="0"/>
                    <a:pt x="87" y="22"/>
                    <a:pt x="87" y="55"/>
                  </a:cubicBezTo>
                  <a:cubicBezTo>
                    <a:pt x="87" y="87"/>
                    <a:pt x="69" y="109"/>
                    <a:pt x="43" y="109"/>
                  </a:cubicBezTo>
                  <a:cubicBezTo>
                    <a:pt x="17" y="109"/>
                    <a:pt x="0" y="87"/>
                    <a:pt x="0" y="55"/>
                  </a:cubicBezTo>
                  <a:close/>
                  <a:moveTo>
                    <a:pt x="26" y="55"/>
                  </a:moveTo>
                  <a:cubicBezTo>
                    <a:pt x="26" y="71"/>
                    <a:pt x="31" y="85"/>
                    <a:pt x="43" y="85"/>
                  </a:cubicBezTo>
                  <a:cubicBezTo>
                    <a:pt x="56" y="85"/>
                    <a:pt x="60" y="71"/>
                    <a:pt x="60" y="55"/>
                  </a:cubicBezTo>
                  <a:cubicBezTo>
                    <a:pt x="60" y="38"/>
                    <a:pt x="56" y="24"/>
                    <a:pt x="43" y="24"/>
                  </a:cubicBezTo>
                  <a:cubicBezTo>
                    <a:pt x="31" y="24"/>
                    <a:pt x="26" y="38"/>
                    <a:pt x="2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7" name="Freeform 49">
              <a:extLst>
                <a:ext uri="{FF2B5EF4-FFF2-40B4-BE49-F238E27FC236}">
                  <a16:creationId xmlns:a16="http://schemas.microsoft.com/office/drawing/2014/main" id="{FD371043-6976-3384-E6A2-E2415F789F0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74790" y="1132040"/>
              <a:ext cx="88651" cy="88381"/>
            </a:xfrm>
            <a:custGeom>
              <a:avLst/>
              <a:gdLst>
                <a:gd name="T0" fmla="*/ 25 w 109"/>
                <a:gd name="T1" fmla="*/ 50 h 109"/>
                <a:gd name="T2" fmla="*/ 0 w 109"/>
                <a:gd name="T3" fmla="*/ 25 h 109"/>
                <a:gd name="T4" fmla="*/ 25 w 109"/>
                <a:gd name="T5" fmla="*/ 0 h 109"/>
                <a:gd name="T6" fmla="*/ 50 w 109"/>
                <a:gd name="T7" fmla="*/ 25 h 109"/>
                <a:gd name="T8" fmla="*/ 25 w 109"/>
                <a:gd name="T9" fmla="*/ 50 h 109"/>
                <a:gd name="T10" fmla="*/ 80 w 109"/>
                <a:gd name="T11" fmla="*/ 2 h 109"/>
                <a:gd name="T12" fmla="*/ 96 w 109"/>
                <a:gd name="T13" fmla="*/ 2 h 109"/>
                <a:gd name="T14" fmla="*/ 28 w 109"/>
                <a:gd name="T15" fmla="*/ 108 h 109"/>
                <a:gd name="T16" fmla="*/ 12 w 109"/>
                <a:gd name="T17" fmla="*/ 108 h 109"/>
                <a:gd name="T18" fmla="*/ 80 w 109"/>
                <a:gd name="T19" fmla="*/ 2 h 109"/>
                <a:gd name="T20" fmla="*/ 25 w 109"/>
                <a:gd name="T21" fmla="*/ 34 h 109"/>
                <a:gd name="T22" fmla="*/ 34 w 109"/>
                <a:gd name="T23" fmla="*/ 25 h 109"/>
                <a:gd name="T24" fmla="*/ 25 w 109"/>
                <a:gd name="T25" fmla="*/ 16 h 109"/>
                <a:gd name="T26" fmla="*/ 16 w 109"/>
                <a:gd name="T27" fmla="*/ 25 h 109"/>
                <a:gd name="T28" fmla="*/ 25 w 109"/>
                <a:gd name="T29" fmla="*/ 34 h 109"/>
                <a:gd name="T30" fmla="*/ 84 w 109"/>
                <a:gd name="T31" fmla="*/ 109 h 109"/>
                <a:gd name="T32" fmla="*/ 58 w 109"/>
                <a:gd name="T33" fmla="*/ 84 h 109"/>
                <a:gd name="T34" fmla="*/ 84 w 109"/>
                <a:gd name="T35" fmla="*/ 59 h 109"/>
                <a:gd name="T36" fmla="*/ 109 w 109"/>
                <a:gd name="T37" fmla="*/ 84 h 109"/>
                <a:gd name="T38" fmla="*/ 84 w 109"/>
                <a:gd name="T39" fmla="*/ 109 h 109"/>
                <a:gd name="T40" fmla="*/ 84 w 109"/>
                <a:gd name="T41" fmla="*/ 75 h 109"/>
                <a:gd name="T42" fmla="*/ 74 w 109"/>
                <a:gd name="T43" fmla="*/ 84 h 109"/>
                <a:gd name="T44" fmla="*/ 84 w 109"/>
                <a:gd name="T45" fmla="*/ 93 h 109"/>
                <a:gd name="T46" fmla="*/ 93 w 109"/>
                <a:gd name="T47" fmla="*/ 84 h 109"/>
                <a:gd name="T48" fmla="*/ 84 w 109"/>
                <a:gd name="T49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" h="109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80" y="2"/>
                  </a:moveTo>
                  <a:cubicBezTo>
                    <a:pt x="96" y="2"/>
                    <a:pt x="96" y="2"/>
                    <a:pt x="96" y="2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12" y="108"/>
                    <a:pt x="12" y="108"/>
                    <a:pt x="12" y="108"/>
                  </a:cubicBezTo>
                  <a:lnTo>
                    <a:pt x="80" y="2"/>
                  </a:lnTo>
                  <a:close/>
                  <a:moveTo>
                    <a:pt x="25" y="34"/>
                  </a:move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lose/>
                  <a:moveTo>
                    <a:pt x="84" y="109"/>
                  </a:moveTo>
                  <a:cubicBezTo>
                    <a:pt x="69" y="109"/>
                    <a:pt x="58" y="98"/>
                    <a:pt x="58" y="84"/>
                  </a:cubicBezTo>
                  <a:cubicBezTo>
                    <a:pt x="58" y="70"/>
                    <a:pt x="69" y="59"/>
                    <a:pt x="84" y="59"/>
                  </a:cubicBezTo>
                  <a:cubicBezTo>
                    <a:pt x="98" y="59"/>
                    <a:pt x="109" y="70"/>
                    <a:pt x="109" y="84"/>
                  </a:cubicBezTo>
                  <a:cubicBezTo>
                    <a:pt x="109" y="98"/>
                    <a:pt x="98" y="109"/>
                    <a:pt x="84" y="109"/>
                  </a:cubicBezTo>
                  <a:close/>
                  <a:moveTo>
                    <a:pt x="84" y="75"/>
                  </a:moveTo>
                  <a:cubicBezTo>
                    <a:pt x="78" y="75"/>
                    <a:pt x="74" y="79"/>
                    <a:pt x="74" y="84"/>
                  </a:cubicBezTo>
                  <a:cubicBezTo>
                    <a:pt x="74" y="89"/>
                    <a:pt x="78" y="93"/>
                    <a:pt x="84" y="93"/>
                  </a:cubicBezTo>
                  <a:cubicBezTo>
                    <a:pt x="89" y="93"/>
                    <a:pt x="93" y="89"/>
                    <a:pt x="93" y="84"/>
                  </a:cubicBezTo>
                  <a:cubicBezTo>
                    <a:pt x="93" y="79"/>
                    <a:pt x="89" y="75"/>
                    <a:pt x="84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ED8412A9-5E01-9F25-89D2-A9000CBB8C82}"/>
                </a:ext>
              </a:extLst>
            </p:cNvPr>
            <p:cNvSpPr/>
            <p:nvPr/>
          </p:nvSpPr>
          <p:spPr bwMode="gray">
            <a:xfrm>
              <a:off x="7820125" y="892097"/>
              <a:ext cx="185327" cy="185327"/>
            </a:xfrm>
            <a:custGeom>
              <a:avLst/>
              <a:gdLst>
                <a:gd name="connsiteX0" fmla="*/ 2027206 w 3114675"/>
                <a:gd name="connsiteY0" fmla="*/ 1091565 h 3114675"/>
                <a:gd name="connsiteX1" fmla="*/ 2027206 w 3114675"/>
                <a:gd name="connsiteY1" fmla="*/ 0 h 3114675"/>
                <a:gd name="connsiteX2" fmla="*/ 1091565 w 3114675"/>
                <a:gd name="connsiteY2" fmla="*/ 0 h 3114675"/>
                <a:gd name="connsiteX3" fmla="*/ 1091565 w 3114675"/>
                <a:gd name="connsiteY3" fmla="*/ 1091565 h 3114675"/>
                <a:gd name="connsiteX4" fmla="*/ 0 w 3114675"/>
                <a:gd name="connsiteY4" fmla="*/ 1091565 h 3114675"/>
                <a:gd name="connsiteX5" fmla="*/ 0 w 3114675"/>
                <a:gd name="connsiteY5" fmla="*/ 2027206 h 3114675"/>
                <a:gd name="connsiteX6" fmla="*/ 1078897 w 3114675"/>
                <a:gd name="connsiteY6" fmla="*/ 2027206 h 3114675"/>
                <a:gd name="connsiteX7" fmla="*/ 1078897 w 3114675"/>
                <a:gd name="connsiteY7" fmla="*/ 3118771 h 3114675"/>
                <a:gd name="connsiteX8" fmla="*/ 2027206 w 3114675"/>
                <a:gd name="connsiteY8" fmla="*/ 3118771 h 3114675"/>
                <a:gd name="connsiteX9" fmla="*/ 2027206 w 3114675"/>
                <a:gd name="connsiteY9" fmla="*/ 2027206 h 3114675"/>
                <a:gd name="connsiteX10" fmla="*/ 3118771 w 3114675"/>
                <a:gd name="connsiteY10" fmla="*/ 2027206 h 3114675"/>
                <a:gd name="connsiteX11" fmla="*/ 3118771 w 3114675"/>
                <a:gd name="connsiteY11" fmla="*/ 109156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14675" h="3114675">
                  <a:moveTo>
                    <a:pt x="2027206" y="1091565"/>
                  </a:moveTo>
                  <a:lnTo>
                    <a:pt x="2027206" y="0"/>
                  </a:lnTo>
                  <a:lnTo>
                    <a:pt x="1091565" y="0"/>
                  </a:lnTo>
                  <a:lnTo>
                    <a:pt x="1091565" y="1091565"/>
                  </a:lnTo>
                  <a:lnTo>
                    <a:pt x="0" y="1091565"/>
                  </a:lnTo>
                  <a:lnTo>
                    <a:pt x="0" y="2027206"/>
                  </a:lnTo>
                  <a:lnTo>
                    <a:pt x="1078897" y="2027206"/>
                  </a:lnTo>
                  <a:lnTo>
                    <a:pt x="1078897" y="3118771"/>
                  </a:lnTo>
                  <a:lnTo>
                    <a:pt x="2027206" y="3118771"/>
                  </a:lnTo>
                  <a:lnTo>
                    <a:pt x="2027206" y="2027206"/>
                  </a:lnTo>
                  <a:lnTo>
                    <a:pt x="3118771" y="2027206"/>
                  </a:lnTo>
                  <a:lnTo>
                    <a:pt x="3118771" y="10915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sp>
        <p:nvSpPr>
          <p:cNvPr id="109" name="Grafik 93">
            <a:extLst>
              <a:ext uri="{FF2B5EF4-FFF2-40B4-BE49-F238E27FC236}">
                <a16:creationId xmlns:a16="http://schemas.microsoft.com/office/drawing/2014/main" id="{91A6FBB9-791C-B80C-6A83-A38A1AD8A3A9}"/>
              </a:ext>
            </a:extLst>
          </p:cNvPr>
          <p:cNvSpPr>
            <a:spLocks noChangeAspect="1"/>
          </p:cNvSpPr>
          <p:nvPr/>
        </p:nvSpPr>
        <p:spPr bwMode="gray">
          <a:xfrm>
            <a:off x="6882067" y="2882912"/>
            <a:ext cx="366243" cy="288000"/>
          </a:xfrm>
          <a:custGeom>
            <a:avLst/>
            <a:gdLst>
              <a:gd name="connsiteX0" fmla="*/ 3213436 w 3355135"/>
              <a:gd name="connsiteY0" fmla="*/ 1375839 h 2638358"/>
              <a:gd name="connsiteX1" fmla="*/ 3354120 w 3355135"/>
              <a:gd name="connsiteY1" fmla="*/ 521875 h 2638358"/>
              <a:gd name="connsiteX2" fmla="*/ 3319925 w 3355135"/>
              <a:gd name="connsiteY2" fmla="*/ 445256 h 2638358"/>
              <a:gd name="connsiteX3" fmla="*/ 1677568 w 3355135"/>
              <a:gd name="connsiteY3" fmla="*/ 0 h 2638358"/>
              <a:gd name="connsiteX4" fmla="*/ 35212 w 3355135"/>
              <a:gd name="connsiteY4" fmla="*/ 445256 h 2638358"/>
              <a:gd name="connsiteX5" fmla="*/ 1017 w 3355135"/>
              <a:gd name="connsiteY5" fmla="*/ 521875 h 2638358"/>
              <a:gd name="connsiteX6" fmla="*/ 141701 w 3355135"/>
              <a:gd name="connsiteY6" fmla="*/ 1375839 h 2638358"/>
              <a:gd name="connsiteX7" fmla="*/ 1345 w 3355135"/>
              <a:gd name="connsiteY7" fmla="*/ 2114655 h 2638358"/>
              <a:gd name="connsiteX8" fmla="*/ 35212 w 3355135"/>
              <a:gd name="connsiteY8" fmla="*/ 2193112 h 2638358"/>
              <a:gd name="connsiteX9" fmla="*/ 1677568 w 3355135"/>
              <a:gd name="connsiteY9" fmla="*/ 2638358 h 2638358"/>
              <a:gd name="connsiteX10" fmla="*/ 3319925 w 3355135"/>
              <a:gd name="connsiteY10" fmla="*/ 2193112 h 2638358"/>
              <a:gd name="connsiteX11" fmla="*/ 3353786 w 3355135"/>
              <a:gd name="connsiteY11" fmla="*/ 2114655 h 2638358"/>
              <a:gd name="connsiteX12" fmla="*/ 2577223 w 3355135"/>
              <a:gd name="connsiteY12" fmla="*/ 1315117 h 2638358"/>
              <a:gd name="connsiteX13" fmla="*/ 2577223 w 3355135"/>
              <a:gd name="connsiteY13" fmla="*/ 1096442 h 2638358"/>
              <a:gd name="connsiteX14" fmla="*/ 2794498 w 3355135"/>
              <a:gd name="connsiteY14" fmla="*/ 879177 h 2638358"/>
              <a:gd name="connsiteX15" fmla="*/ 2811262 w 3355135"/>
              <a:gd name="connsiteY15" fmla="*/ 879177 h 2638358"/>
              <a:gd name="connsiteX16" fmla="*/ 3028537 w 3355135"/>
              <a:gd name="connsiteY16" fmla="*/ 1096442 h 2638358"/>
              <a:gd name="connsiteX17" fmla="*/ 3028537 w 3355135"/>
              <a:gd name="connsiteY17" fmla="*/ 1315117 h 2638358"/>
              <a:gd name="connsiteX18" fmla="*/ 3028537 w 3355135"/>
              <a:gd name="connsiteY18" fmla="*/ 1467517 h 2638358"/>
              <a:gd name="connsiteX19" fmla="*/ 3028537 w 3355135"/>
              <a:gd name="connsiteY19" fmla="*/ 1686182 h 2638358"/>
              <a:gd name="connsiteX20" fmla="*/ 2811262 w 3355135"/>
              <a:gd name="connsiteY20" fmla="*/ 1903447 h 2638358"/>
              <a:gd name="connsiteX21" fmla="*/ 2794498 w 3355135"/>
              <a:gd name="connsiteY21" fmla="*/ 1903447 h 2638358"/>
              <a:gd name="connsiteX22" fmla="*/ 2577223 w 3355135"/>
              <a:gd name="connsiteY22" fmla="*/ 1686182 h 2638358"/>
              <a:gd name="connsiteX23" fmla="*/ 2577223 w 3355135"/>
              <a:gd name="connsiteY23" fmla="*/ 1467517 h 2638358"/>
              <a:gd name="connsiteX24" fmla="*/ 1275870 w 3355135"/>
              <a:gd name="connsiteY24" fmla="*/ 2114931 h 2638358"/>
              <a:gd name="connsiteX25" fmla="*/ 1253076 w 3355135"/>
              <a:gd name="connsiteY25" fmla="*/ 2114931 h 2638358"/>
              <a:gd name="connsiteX26" fmla="*/ 930312 w 3355135"/>
              <a:gd name="connsiteY26" fmla="*/ 1792176 h 2638358"/>
              <a:gd name="connsiteX27" fmla="*/ 930312 w 3355135"/>
              <a:gd name="connsiteY27" fmla="*/ 1475813 h 2638358"/>
              <a:gd name="connsiteX28" fmla="*/ 938618 w 3355135"/>
              <a:gd name="connsiteY28" fmla="*/ 1467517 h 2638358"/>
              <a:gd name="connsiteX29" fmla="*/ 1590328 w 3355135"/>
              <a:gd name="connsiteY29" fmla="*/ 1467517 h 2638358"/>
              <a:gd name="connsiteX30" fmla="*/ 1598634 w 3355135"/>
              <a:gd name="connsiteY30" fmla="*/ 1475813 h 2638358"/>
              <a:gd name="connsiteX31" fmla="*/ 1598634 w 3355135"/>
              <a:gd name="connsiteY31" fmla="*/ 1792167 h 2638358"/>
              <a:gd name="connsiteX32" fmla="*/ 1275870 w 3355135"/>
              <a:gd name="connsiteY32" fmla="*/ 2114922 h 2638358"/>
              <a:gd name="connsiteX33" fmla="*/ 2079265 w 3355135"/>
              <a:gd name="connsiteY33" fmla="*/ 667703 h 2638358"/>
              <a:gd name="connsiteX34" fmla="*/ 2102059 w 3355135"/>
              <a:gd name="connsiteY34" fmla="*/ 667703 h 2638358"/>
              <a:gd name="connsiteX35" fmla="*/ 2424823 w 3355135"/>
              <a:gd name="connsiteY35" fmla="*/ 990457 h 2638358"/>
              <a:gd name="connsiteX36" fmla="*/ 2424823 w 3355135"/>
              <a:gd name="connsiteY36" fmla="*/ 1306811 h 2638358"/>
              <a:gd name="connsiteX37" fmla="*/ 2416517 w 3355135"/>
              <a:gd name="connsiteY37" fmla="*/ 1315117 h 2638358"/>
              <a:gd name="connsiteX38" fmla="*/ 1764807 w 3355135"/>
              <a:gd name="connsiteY38" fmla="*/ 1315117 h 2638358"/>
              <a:gd name="connsiteX39" fmla="*/ 1756501 w 3355135"/>
              <a:gd name="connsiteY39" fmla="*/ 1306811 h 2638358"/>
              <a:gd name="connsiteX40" fmla="*/ 1756501 w 3355135"/>
              <a:gd name="connsiteY40" fmla="*/ 990457 h 2638358"/>
              <a:gd name="connsiteX41" fmla="*/ 2079265 w 3355135"/>
              <a:gd name="connsiteY41" fmla="*/ 667703 h 2638358"/>
              <a:gd name="connsiteX42" fmla="*/ 1604101 w 3355135"/>
              <a:gd name="connsiteY42" fmla="*/ 1306811 h 2638358"/>
              <a:gd name="connsiteX43" fmla="*/ 1595805 w 3355135"/>
              <a:gd name="connsiteY43" fmla="*/ 1315117 h 2638358"/>
              <a:gd name="connsiteX44" fmla="*/ 944095 w 3355135"/>
              <a:gd name="connsiteY44" fmla="*/ 1315117 h 2638358"/>
              <a:gd name="connsiteX45" fmla="*/ 935789 w 3355135"/>
              <a:gd name="connsiteY45" fmla="*/ 1306811 h 2638358"/>
              <a:gd name="connsiteX46" fmla="*/ 935789 w 3355135"/>
              <a:gd name="connsiteY46" fmla="*/ 990457 h 2638358"/>
              <a:gd name="connsiteX47" fmla="*/ 1258553 w 3355135"/>
              <a:gd name="connsiteY47" fmla="*/ 667703 h 2638358"/>
              <a:gd name="connsiteX48" fmla="*/ 1281347 w 3355135"/>
              <a:gd name="connsiteY48" fmla="*/ 667693 h 2638358"/>
              <a:gd name="connsiteX49" fmla="*/ 1604101 w 3355135"/>
              <a:gd name="connsiteY49" fmla="*/ 990457 h 2638358"/>
              <a:gd name="connsiteX50" fmla="*/ 1751034 w 3355135"/>
              <a:gd name="connsiteY50" fmla="*/ 1475813 h 2638358"/>
              <a:gd name="connsiteX51" fmla="*/ 1759330 w 3355135"/>
              <a:gd name="connsiteY51" fmla="*/ 1467517 h 2638358"/>
              <a:gd name="connsiteX52" fmla="*/ 2411040 w 3355135"/>
              <a:gd name="connsiteY52" fmla="*/ 1467517 h 2638358"/>
              <a:gd name="connsiteX53" fmla="*/ 2419346 w 3355135"/>
              <a:gd name="connsiteY53" fmla="*/ 1475823 h 2638358"/>
              <a:gd name="connsiteX54" fmla="*/ 2419346 w 3355135"/>
              <a:gd name="connsiteY54" fmla="*/ 1792167 h 2638358"/>
              <a:gd name="connsiteX55" fmla="*/ 2096582 w 3355135"/>
              <a:gd name="connsiteY55" fmla="*/ 2114931 h 2638358"/>
              <a:gd name="connsiteX56" fmla="*/ 2073788 w 3355135"/>
              <a:gd name="connsiteY56" fmla="*/ 2114931 h 2638358"/>
              <a:gd name="connsiteX57" fmla="*/ 1751034 w 3355135"/>
              <a:gd name="connsiteY57" fmla="*/ 1792167 h 2638358"/>
              <a:gd name="connsiteX58" fmla="*/ 326599 w 3355135"/>
              <a:gd name="connsiteY58" fmla="*/ 1315117 h 2638358"/>
              <a:gd name="connsiteX59" fmla="*/ 326599 w 3355135"/>
              <a:gd name="connsiteY59" fmla="*/ 1096442 h 2638358"/>
              <a:gd name="connsiteX60" fmla="*/ 543873 w 3355135"/>
              <a:gd name="connsiteY60" fmla="*/ 879177 h 2638358"/>
              <a:gd name="connsiteX61" fmla="*/ 560637 w 3355135"/>
              <a:gd name="connsiteY61" fmla="*/ 879177 h 2638358"/>
              <a:gd name="connsiteX62" fmla="*/ 777912 w 3355135"/>
              <a:gd name="connsiteY62" fmla="*/ 1096442 h 2638358"/>
              <a:gd name="connsiteX63" fmla="*/ 777912 w 3355135"/>
              <a:gd name="connsiteY63" fmla="*/ 1315117 h 2638358"/>
              <a:gd name="connsiteX64" fmla="*/ 777912 w 3355135"/>
              <a:gd name="connsiteY64" fmla="*/ 1467517 h 2638358"/>
              <a:gd name="connsiteX65" fmla="*/ 777912 w 3355135"/>
              <a:gd name="connsiteY65" fmla="*/ 1686182 h 2638358"/>
              <a:gd name="connsiteX66" fmla="*/ 560637 w 3355135"/>
              <a:gd name="connsiteY66" fmla="*/ 1903447 h 2638358"/>
              <a:gd name="connsiteX67" fmla="*/ 543873 w 3355135"/>
              <a:gd name="connsiteY67" fmla="*/ 1903447 h 2638358"/>
              <a:gd name="connsiteX68" fmla="*/ 326599 w 3355135"/>
              <a:gd name="connsiteY68" fmla="*/ 1686182 h 2638358"/>
              <a:gd name="connsiteX69" fmla="*/ 326599 w 3355135"/>
              <a:gd name="connsiteY69" fmla="*/ 1467517 h 263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355135" h="2638358">
                <a:moveTo>
                  <a:pt x="3213436" y="1375839"/>
                </a:moveTo>
                <a:lnTo>
                  <a:pt x="3354120" y="521875"/>
                </a:lnTo>
                <a:cubicBezTo>
                  <a:pt x="3359073" y="491795"/>
                  <a:pt x="3345624" y="461658"/>
                  <a:pt x="3319925" y="445256"/>
                </a:cubicBezTo>
                <a:cubicBezTo>
                  <a:pt x="2869983" y="158125"/>
                  <a:pt x="2286710" y="0"/>
                  <a:pt x="1677568" y="0"/>
                </a:cubicBezTo>
                <a:cubicBezTo>
                  <a:pt x="1068425" y="0"/>
                  <a:pt x="485152" y="158125"/>
                  <a:pt x="35212" y="445256"/>
                </a:cubicBezTo>
                <a:cubicBezTo>
                  <a:pt x="9510" y="461658"/>
                  <a:pt x="-3941" y="491795"/>
                  <a:pt x="1017" y="521875"/>
                </a:cubicBezTo>
                <a:lnTo>
                  <a:pt x="141701" y="1375839"/>
                </a:lnTo>
                <a:lnTo>
                  <a:pt x="1345" y="2114655"/>
                </a:lnTo>
                <a:cubicBezTo>
                  <a:pt x="-4470" y="2145268"/>
                  <a:pt x="8943" y="2176348"/>
                  <a:pt x="35212" y="2193112"/>
                </a:cubicBezTo>
                <a:cubicBezTo>
                  <a:pt x="485152" y="2480234"/>
                  <a:pt x="1068425" y="2638358"/>
                  <a:pt x="1677568" y="2638358"/>
                </a:cubicBezTo>
                <a:cubicBezTo>
                  <a:pt x="2286710" y="2638358"/>
                  <a:pt x="2869983" y="2480234"/>
                  <a:pt x="3319925" y="2193112"/>
                </a:cubicBezTo>
                <a:cubicBezTo>
                  <a:pt x="3346195" y="2176348"/>
                  <a:pt x="3359606" y="2145268"/>
                  <a:pt x="3353786" y="2114655"/>
                </a:cubicBezTo>
                <a:close/>
                <a:moveTo>
                  <a:pt x="2577223" y="1315117"/>
                </a:moveTo>
                <a:lnTo>
                  <a:pt x="2577223" y="1096442"/>
                </a:lnTo>
                <a:cubicBezTo>
                  <a:pt x="2577356" y="976503"/>
                  <a:pt x="2674559" y="879310"/>
                  <a:pt x="2794498" y="879177"/>
                </a:cubicBezTo>
                <a:lnTo>
                  <a:pt x="2811262" y="879177"/>
                </a:lnTo>
                <a:cubicBezTo>
                  <a:pt x="2931200" y="879310"/>
                  <a:pt x="3028403" y="976503"/>
                  <a:pt x="3028537" y="1096442"/>
                </a:cubicBezTo>
                <a:lnTo>
                  <a:pt x="3028537" y="1315117"/>
                </a:lnTo>
                <a:close/>
                <a:moveTo>
                  <a:pt x="3028537" y="1467517"/>
                </a:moveTo>
                <a:lnTo>
                  <a:pt x="3028537" y="1686182"/>
                </a:lnTo>
                <a:cubicBezTo>
                  <a:pt x="3028403" y="1806121"/>
                  <a:pt x="2931200" y="1903314"/>
                  <a:pt x="2811262" y="1903447"/>
                </a:cubicBezTo>
                <a:lnTo>
                  <a:pt x="2794498" y="1903447"/>
                </a:lnTo>
                <a:cubicBezTo>
                  <a:pt x="2674559" y="1903314"/>
                  <a:pt x="2577366" y="1806121"/>
                  <a:pt x="2577223" y="1686182"/>
                </a:cubicBezTo>
                <a:lnTo>
                  <a:pt x="2577223" y="1467517"/>
                </a:lnTo>
                <a:close/>
                <a:moveTo>
                  <a:pt x="1275870" y="2114931"/>
                </a:moveTo>
                <a:lnTo>
                  <a:pt x="1253076" y="2114931"/>
                </a:lnTo>
                <a:cubicBezTo>
                  <a:pt x="1074902" y="2114731"/>
                  <a:pt x="930512" y="1970342"/>
                  <a:pt x="930312" y="1792176"/>
                </a:cubicBezTo>
                <a:lnTo>
                  <a:pt x="930312" y="1475813"/>
                </a:lnTo>
                <a:cubicBezTo>
                  <a:pt x="930426" y="1471279"/>
                  <a:pt x="934075" y="1467631"/>
                  <a:pt x="938618" y="1467517"/>
                </a:cubicBezTo>
                <a:lnTo>
                  <a:pt x="1590328" y="1467517"/>
                </a:lnTo>
                <a:cubicBezTo>
                  <a:pt x="1594862" y="1467622"/>
                  <a:pt x="1598520" y="1471279"/>
                  <a:pt x="1598634" y="1475813"/>
                </a:cubicBezTo>
                <a:lnTo>
                  <a:pt x="1598634" y="1792167"/>
                </a:lnTo>
                <a:cubicBezTo>
                  <a:pt x="1598434" y="1970342"/>
                  <a:pt x="1454044" y="2114722"/>
                  <a:pt x="1275870" y="2114922"/>
                </a:cubicBezTo>
                <a:close/>
                <a:moveTo>
                  <a:pt x="2079265" y="667703"/>
                </a:moveTo>
                <a:lnTo>
                  <a:pt x="2102059" y="667703"/>
                </a:lnTo>
                <a:cubicBezTo>
                  <a:pt x="2280233" y="667903"/>
                  <a:pt x="2424623" y="812282"/>
                  <a:pt x="2424823" y="990457"/>
                </a:cubicBezTo>
                <a:lnTo>
                  <a:pt x="2424823" y="1306811"/>
                </a:lnTo>
                <a:cubicBezTo>
                  <a:pt x="2424709" y="1311345"/>
                  <a:pt x="2421061" y="1315003"/>
                  <a:pt x="2416517" y="1315117"/>
                </a:cubicBezTo>
                <a:lnTo>
                  <a:pt x="1764807" y="1315117"/>
                </a:lnTo>
                <a:cubicBezTo>
                  <a:pt x="1760273" y="1315003"/>
                  <a:pt x="1756616" y="1311345"/>
                  <a:pt x="1756501" y="1306811"/>
                </a:cubicBezTo>
                <a:lnTo>
                  <a:pt x="1756501" y="990457"/>
                </a:lnTo>
                <a:cubicBezTo>
                  <a:pt x="1756701" y="812282"/>
                  <a:pt x="1901091" y="667893"/>
                  <a:pt x="2079265" y="667703"/>
                </a:cubicBezTo>
                <a:close/>
                <a:moveTo>
                  <a:pt x="1604101" y="1306811"/>
                </a:moveTo>
                <a:cubicBezTo>
                  <a:pt x="1603987" y="1311345"/>
                  <a:pt x="1600339" y="1315003"/>
                  <a:pt x="1595805" y="1315117"/>
                </a:cubicBezTo>
                <a:lnTo>
                  <a:pt x="944095" y="1315117"/>
                </a:lnTo>
                <a:cubicBezTo>
                  <a:pt x="939561" y="1315003"/>
                  <a:pt x="935903" y="1311345"/>
                  <a:pt x="935789" y="1306811"/>
                </a:cubicBezTo>
                <a:lnTo>
                  <a:pt x="935789" y="990457"/>
                </a:lnTo>
                <a:cubicBezTo>
                  <a:pt x="935989" y="812282"/>
                  <a:pt x="1080379" y="667893"/>
                  <a:pt x="1258553" y="667703"/>
                </a:cubicBezTo>
                <a:lnTo>
                  <a:pt x="1281347" y="667693"/>
                </a:lnTo>
                <a:cubicBezTo>
                  <a:pt x="1459521" y="667903"/>
                  <a:pt x="1603901" y="812282"/>
                  <a:pt x="1604101" y="990457"/>
                </a:cubicBezTo>
                <a:close/>
                <a:moveTo>
                  <a:pt x="1751034" y="1475813"/>
                </a:moveTo>
                <a:cubicBezTo>
                  <a:pt x="1751148" y="1471279"/>
                  <a:pt x="1754796" y="1467631"/>
                  <a:pt x="1759330" y="1467517"/>
                </a:cubicBezTo>
                <a:lnTo>
                  <a:pt x="2411040" y="1467517"/>
                </a:lnTo>
                <a:cubicBezTo>
                  <a:pt x="2415574" y="1467631"/>
                  <a:pt x="2419232" y="1471279"/>
                  <a:pt x="2419346" y="1475823"/>
                </a:cubicBezTo>
                <a:lnTo>
                  <a:pt x="2419346" y="1792167"/>
                </a:lnTo>
                <a:cubicBezTo>
                  <a:pt x="2419146" y="1970342"/>
                  <a:pt x="2274756" y="2114731"/>
                  <a:pt x="2096582" y="2114931"/>
                </a:cubicBezTo>
                <a:lnTo>
                  <a:pt x="2073788" y="2114931"/>
                </a:lnTo>
                <a:cubicBezTo>
                  <a:pt x="1895614" y="2114731"/>
                  <a:pt x="1751234" y="1970342"/>
                  <a:pt x="1751034" y="1792167"/>
                </a:cubicBezTo>
                <a:close/>
                <a:moveTo>
                  <a:pt x="326599" y="1315117"/>
                </a:moveTo>
                <a:lnTo>
                  <a:pt x="326599" y="1096442"/>
                </a:lnTo>
                <a:cubicBezTo>
                  <a:pt x="326732" y="976503"/>
                  <a:pt x="423935" y="879310"/>
                  <a:pt x="543873" y="879177"/>
                </a:cubicBezTo>
                <a:lnTo>
                  <a:pt x="560637" y="879177"/>
                </a:lnTo>
                <a:cubicBezTo>
                  <a:pt x="680576" y="879310"/>
                  <a:pt x="777779" y="976503"/>
                  <a:pt x="777912" y="1096442"/>
                </a:cubicBezTo>
                <a:lnTo>
                  <a:pt x="777912" y="1315117"/>
                </a:lnTo>
                <a:close/>
                <a:moveTo>
                  <a:pt x="777912" y="1467517"/>
                </a:moveTo>
                <a:lnTo>
                  <a:pt x="777912" y="1686182"/>
                </a:lnTo>
                <a:cubicBezTo>
                  <a:pt x="777769" y="1806121"/>
                  <a:pt x="680576" y="1903314"/>
                  <a:pt x="560637" y="1903447"/>
                </a:cubicBezTo>
                <a:lnTo>
                  <a:pt x="543873" y="1903447"/>
                </a:lnTo>
                <a:cubicBezTo>
                  <a:pt x="423935" y="1903314"/>
                  <a:pt x="326732" y="1806121"/>
                  <a:pt x="326599" y="1686182"/>
                </a:cubicBezTo>
                <a:lnTo>
                  <a:pt x="326599" y="14675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100" dirty="0"/>
          </a:p>
        </p:txBody>
      </p:sp>
      <p:pic>
        <p:nvPicPr>
          <p:cNvPr id="110" name="Grafik 109">
            <a:extLst>
              <a:ext uri="{FF2B5EF4-FFF2-40B4-BE49-F238E27FC236}">
                <a16:creationId xmlns:a16="http://schemas.microsoft.com/office/drawing/2014/main" id="{3AF5D856-C7EC-D7ED-5730-05BBF691282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4757995" y="4256417"/>
            <a:ext cx="329843" cy="329843"/>
          </a:xfrm>
          <a:prstGeom prst="rect">
            <a:avLst/>
          </a:prstGeom>
        </p:spPr>
      </p:pic>
      <p:pic>
        <p:nvPicPr>
          <p:cNvPr id="111" name="Grafik 110">
            <a:extLst>
              <a:ext uri="{FF2B5EF4-FFF2-40B4-BE49-F238E27FC236}">
                <a16:creationId xmlns:a16="http://schemas.microsoft.com/office/drawing/2014/main" id="{D0D8E5FC-3CCB-6D63-6348-99ACA3A9F9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5864139" y="4979089"/>
            <a:ext cx="468000" cy="468000"/>
          </a:xfrm>
          <a:prstGeom prst="rect">
            <a:avLst/>
          </a:prstGeom>
        </p:spPr>
      </p:pic>
      <p:grpSp>
        <p:nvGrpSpPr>
          <p:cNvPr id="112" name="Group 21">
            <a:extLst>
              <a:ext uri="{FF2B5EF4-FFF2-40B4-BE49-F238E27FC236}">
                <a16:creationId xmlns:a16="http://schemas.microsoft.com/office/drawing/2014/main" id="{3658D484-BDDA-2DDC-8F91-F8A2D61BC2A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608609" y="4875295"/>
            <a:ext cx="411780" cy="241805"/>
            <a:chOff x="3269" y="2439"/>
            <a:chExt cx="579" cy="340"/>
          </a:xfrm>
          <a:solidFill>
            <a:schemeClr val="bg1"/>
          </a:solidFill>
        </p:grpSpPr>
        <p:sp>
          <p:nvSpPr>
            <p:cNvPr id="113" name="Oval 22">
              <a:extLst>
                <a:ext uri="{FF2B5EF4-FFF2-40B4-BE49-F238E27FC236}">
                  <a16:creationId xmlns:a16="http://schemas.microsoft.com/office/drawing/2014/main" id="{E22E7811-5DB6-126D-A0F5-3E865E2914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65" y="2516"/>
              <a:ext cx="187" cy="1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4" name="Freeform 23">
              <a:extLst>
                <a:ext uri="{FF2B5EF4-FFF2-40B4-BE49-F238E27FC236}">
                  <a16:creationId xmlns:a16="http://schemas.microsoft.com/office/drawing/2014/main" id="{1E54A476-F9E2-C98F-207A-BA1B458E67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69" y="2439"/>
              <a:ext cx="579" cy="340"/>
            </a:xfrm>
            <a:custGeom>
              <a:avLst/>
              <a:gdLst>
                <a:gd name="T0" fmla="*/ 1890 w 1890"/>
                <a:gd name="T1" fmla="*/ 555 h 1111"/>
                <a:gd name="T2" fmla="*/ 1884 w 1890"/>
                <a:gd name="T3" fmla="*/ 531 h 1111"/>
                <a:gd name="T4" fmla="*/ 934 w 1890"/>
                <a:gd name="T5" fmla="*/ 0 h 1111"/>
                <a:gd name="T6" fmla="*/ 5 w 1890"/>
                <a:gd name="T7" fmla="*/ 534 h 1111"/>
                <a:gd name="T8" fmla="*/ 0 w 1890"/>
                <a:gd name="T9" fmla="*/ 556 h 1111"/>
                <a:gd name="T10" fmla="*/ 5 w 1890"/>
                <a:gd name="T11" fmla="*/ 577 h 1111"/>
                <a:gd name="T12" fmla="*/ 934 w 1890"/>
                <a:gd name="T13" fmla="*/ 1111 h 1111"/>
                <a:gd name="T14" fmla="*/ 1884 w 1890"/>
                <a:gd name="T15" fmla="*/ 580 h 1111"/>
                <a:gd name="T16" fmla="*/ 1890 w 1890"/>
                <a:gd name="T17" fmla="*/ 556 h 1111"/>
                <a:gd name="T18" fmla="*/ 1890 w 1890"/>
                <a:gd name="T19" fmla="*/ 556 h 1111"/>
                <a:gd name="T20" fmla="*/ 1890 w 1890"/>
                <a:gd name="T21" fmla="*/ 555 h 1111"/>
                <a:gd name="T22" fmla="*/ 934 w 1890"/>
                <a:gd name="T23" fmla="*/ 1000 h 1111"/>
                <a:gd name="T24" fmla="*/ 121 w 1890"/>
                <a:gd name="T25" fmla="*/ 556 h 1111"/>
                <a:gd name="T26" fmla="*/ 934 w 1890"/>
                <a:gd name="T27" fmla="*/ 111 h 1111"/>
                <a:gd name="T28" fmla="*/ 1769 w 1890"/>
                <a:gd name="T29" fmla="*/ 556 h 1111"/>
                <a:gd name="T30" fmla="*/ 934 w 1890"/>
                <a:gd name="T31" fmla="*/ 100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90" h="1111">
                  <a:moveTo>
                    <a:pt x="1890" y="555"/>
                  </a:moveTo>
                  <a:cubicBezTo>
                    <a:pt x="1890" y="547"/>
                    <a:pt x="1888" y="539"/>
                    <a:pt x="1884" y="531"/>
                  </a:cubicBezTo>
                  <a:cubicBezTo>
                    <a:pt x="1874" y="512"/>
                    <a:pt x="1631" y="0"/>
                    <a:pt x="934" y="0"/>
                  </a:cubicBezTo>
                  <a:cubicBezTo>
                    <a:pt x="249" y="0"/>
                    <a:pt x="15" y="514"/>
                    <a:pt x="5" y="534"/>
                  </a:cubicBezTo>
                  <a:cubicBezTo>
                    <a:pt x="2" y="541"/>
                    <a:pt x="1" y="548"/>
                    <a:pt x="0" y="556"/>
                  </a:cubicBezTo>
                  <a:cubicBezTo>
                    <a:pt x="1" y="563"/>
                    <a:pt x="2" y="570"/>
                    <a:pt x="5" y="577"/>
                  </a:cubicBezTo>
                  <a:cubicBezTo>
                    <a:pt x="15" y="597"/>
                    <a:pt x="249" y="1111"/>
                    <a:pt x="934" y="1111"/>
                  </a:cubicBezTo>
                  <a:cubicBezTo>
                    <a:pt x="1631" y="1111"/>
                    <a:pt x="1874" y="599"/>
                    <a:pt x="1884" y="580"/>
                  </a:cubicBezTo>
                  <a:cubicBezTo>
                    <a:pt x="1888" y="573"/>
                    <a:pt x="1890" y="564"/>
                    <a:pt x="1890" y="556"/>
                  </a:cubicBezTo>
                  <a:cubicBezTo>
                    <a:pt x="1890" y="556"/>
                    <a:pt x="1890" y="556"/>
                    <a:pt x="1890" y="556"/>
                  </a:cubicBezTo>
                  <a:cubicBezTo>
                    <a:pt x="1890" y="555"/>
                    <a:pt x="1890" y="555"/>
                    <a:pt x="1890" y="555"/>
                  </a:cubicBezTo>
                  <a:close/>
                  <a:moveTo>
                    <a:pt x="934" y="1000"/>
                  </a:moveTo>
                  <a:cubicBezTo>
                    <a:pt x="406" y="1000"/>
                    <a:pt x="179" y="650"/>
                    <a:pt x="121" y="556"/>
                  </a:cubicBezTo>
                  <a:cubicBezTo>
                    <a:pt x="179" y="461"/>
                    <a:pt x="406" y="111"/>
                    <a:pt x="934" y="111"/>
                  </a:cubicBezTo>
                  <a:cubicBezTo>
                    <a:pt x="1475" y="111"/>
                    <a:pt x="1709" y="463"/>
                    <a:pt x="1769" y="556"/>
                  </a:cubicBezTo>
                  <a:cubicBezTo>
                    <a:pt x="1709" y="649"/>
                    <a:pt x="1475" y="1000"/>
                    <a:pt x="934" y="10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16" name="Textfeld 115">
            <a:extLst>
              <a:ext uri="{FF2B5EF4-FFF2-40B4-BE49-F238E27FC236}">
                <a16:creationId xmlns:a16="http://schemas.microsoft.com/office/drawing/2014/main" id="{8FB755EC-AB84-2CBD-DC1A-A1D07BC5ABDB}"/>
              </a:ext>
            </a:extLst>
          </p:cNvPr>
          <p:cNvSpPr txBox="1"/>
          <p:nvPr/>
        </p:nvSpPr>
        <p:spPr bwMode="gray">
          <a:xfrm>
            <a:off x="5084160" y="3684825"/>
            <a:ext cx="2023680" cy="640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sz="2800" dirty="0">
                <a:solidFill>
                  <a:schemeClr val="accent1"/>
                </a:solidFill>
              </a:rPr>
              <a:t>BKB</a:t>
            </a:r>
          </a:p>
        </p:txBody>
      </p:sp>
      <p:sp>
        <p:nvSpPr>
          <p:cNvPr id="120" name="Textplatzhalter 15">
            <a:extLst>
              <a:ext uri="{FF2B5EF4-FFF2-40B4-BE49-F238E27FC236}">
                <a16:creationId xmlns:a16="http://schemas.microsoft.com/office/drawing/2014/main" id="{6E2337A2-6339-92BF-2F36-3628AAE063E7}"/>
              </a:ext>
            </a:extLst>
          </p:cNvPr>
          <p:cNvSpPr txBox="1">
            <a:spLocks/>
          </p:cNvSpPr>
          <p:nvPr/>
        </p:nvSpPr>
        <p:spPr bwMode="gray">
          <a:xfrm>
            <a:off x="6285696" y="1848715"/>
            <a:ext cx="3107686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6"/>
                </a:solidFill>
              </a:rPr>
              <a:t>100 % der Kosten für ausgewählte Vorsorgeuntersuchungen</a:t>
            </a:r>
          </a:p>
        </p:txBody>
      </p:sp>
      <p:sp>
        <p:nvSpPr>
          <p:cNvPr id="121" name="Textplatzhalter 15">
            <a:extLst>
              <a:ext uri="{FF2B5EF4-FFF2-40B4-BE49-F238E27FC236}">
                <a16:creationId xmlns:a16="http://schemas.microsoft.com/office/drawing/2014/main" id="{B73E79EC-2F28-2692-7514-D8AD1E771306}"/>
              </a:ext>
            </a:extLst>
          </p:cNvPr>
          <p:cNvSpPr txBox="1">
            <a:spLocks/>
          </p:cNvSpPr>
          <p:nvPr/>
        </p:nvSpPr>
        <p:spPr bwMode="gray">
          <a:xfrm>
            <a:off x="7405001" y="2626684"/>
            <a:ext cx="2698549" cy="169277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6"/>
                </a:solidFill>
              </a:rPr>
              <a:t>100 % der Kosten für Zahnersatz</a:t>
            </a:r>
          </a:p>
        </p:txBody>
      </p:sp>
      <p:sp>
        <p:nvSpPr>
          <p:cNvPr id="122" name="Textplatzhalter 15">
            <a:extLst>
              <a:ext uri="{FF2B5EF4-FFF2-40B4-BE49-F238E27FC236}">
                <a16:creationId xmlns:a16="http://schemas.microsoft.com/office/drawing/2014/main" id="{05CD843F-D520-7894-3F8D-80E54C356A98}"/>
              </a:ext>
            </a:extLst>
          </p:cNvPr>
          <p:cNvSpPr txBox="1">
            <a:spLocks/>
          </p:cNvSpPr>
          <p:nvPr/>
        </p:nvSpPr>
        <p:spPr bwMode="gray">
          <a:xfrm>
            <a:off x="7867803" y="3456545"/>
            <a:ext cx="2321417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6"/>
                </a:solidFill>
              </a:rPr>
              <a:t>100 % der Kosten für Zahnbehandlungen</a:t>
            </a:r>
          </a:p>
        </p:txBody>
      </p:sp>
      <p:sp>
        <p:nvSpPr>
          <p:cNvPr id="123" name="Textplatzhalter 15">
            <a:extLst>
              <a:ext uri="{FF2B5EF4-FFF2-40B4-BE49-F238E27FC236}">
                <a16:creationId xmlns:a16="http://schemas.microsoft.com/office/drawing/2014/main" id="{91803BAB-2291-D7CE-075B-524C433C8577}"/>
              </a:ext>
            </a:extLst>
          </p:cNvPr>
          <p:cNvSpPr txBox="1">
            <a:spLocks/>
          </p:cNvSpPr>
          <p:nvPr/>
        </p:nvSpPr>
        <p:spPr bwMode="gray">
          <a:xfrm>
            <a:off x="7773944" y="4397034"/>
            <a:ext cx="2321417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6"/>
                </a:solidFill>
              </a:rPr>
              <a:t>Je nach Budgetstufe jährlich 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80,– bis 120,– EUR für die Zahnprophylaxe und Bleaching</a:t>
            </a:r>
          </a:p>
        </p:txBody>
      </p:sp>
      <p:sp>
        <p:nvSpPr>
          <p:cNvPr id="124" name="Textplatzhalter 15">
            <a:extLst>
              <a:ext uri="{FF2B5EF4-FFF2-40B4-BE49-F238E27FC236}">
                <a16:creationId xmlns:a16="http://schemas.microsoft.com/office/drawing/2014/main" id="{2C290228-4AFE-C616-CD18-542FA39DAC24}"/>
              </a:ext>
            </a:extLst>
          </p:cNvPr>
          <p:cNvSpPr txBox="1">
            <a:spLocks/>
          </p:cNvSpPr>
          <p:nvPr/>
        </p:nvSpPr>
        <p:spPr bwMode="gray">
          <a:xfrm>
            <a:off x="7190457" y="5243392"/>
            <a:ext cx="3208074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6"/>
                </a:solidFill>
              </a:rPr>
              <a:t>Je nach Budgetstufe jährlich 200,– bis 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300,– EUR für notwendige Sehhilfen und 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spc="-20" dirty="0">
                <a:solidFill>
                  <a:schemeClr val="accent6"/>
                </a:solidFill>
              </a:rPr>
              <a:t>Augenlasern zur Korrektur der Fehlsichtigkeit*</a:t>
            </a:r>
          </a:p>
        </p:txBody>
      </p:sp>
      <p:sp>
        <p:nvSpPr>
          <p:cNvPr id="125" name="Textplatzhalter 15">
            <a:extLst>
              <a:ext uri="{FF2B5EF4-FFF2-40B4-BE49-F238E27FC236}">
                <a16:creationId xmlns:a16="http://schemas.microsoft.com/office/drawing/2014/main" id="{1FCA3BB4-D7DD-2988-2259-016FCE6DE1F0}"/>
              </a:ext>
            </a:extLst>
          </p:cNvPr>
          <p:cNvSpPr txBox="1">
            <a:spLocks/>
          </p:cNvSpPr>
          <p:nvPr/>
        </p:nvSpPr>
        <p:spPr bwMode="gray">
          <a:xfrm>
            <a:off x="2398889" y="5421598"/>
            <a:ext cx="2922041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 b="1" dirty="0">
                <a:solidFill>
                  <a:schemeClr val="accent6"/>
                </a:solidFill>
              </a:rPr>
              <a:t>100 % der Kosten für Naturheilverfahren durch Heilpraktiker und Ärzte</a:t>
            </a:r>
          </a:p>
        </p:txBody>
      </p:sp>
      <p:sp>
        <p:nvSpPr>
          <p:cNvPr id="126" name="Textplatzhalter 15">
            <a:extLst>
              <a:ext uri="{FF2B5EF4-FFF2-40B4-BE49-F238E27FC236}">
                <a16:creationId xmlns:a16="http://schemas.microsoft.com/office/drawing/2014/main" id="{03D38994-F4A2-C1FC-3109-6D46A602A9EA}"/>
              </a:ext>
            </a:extLst>
          </p:cNvPr>
          <p:cNvSpPr txBox="1">
            <a:spLocks/>
          </p:cNvSpPr>
          <p:nvPr/>
        </p:nvSpPr>
        <p:spPr bwMode="gray">
          <a:xfrm>
            <a:off x="1416515" y="4673713"/>
            <a:ext cx="3144367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 b="1" dirty="0">
                <a:solidFill>
                  <a:schemeClr val="accent6"/>
                </a:solidFill>
              </a:rPr>
              <a:t>100 % der Kosten für ärztlich verordnete Heilmittel, bestimmte Hilfsmittel 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sowie Arznei- und Verbandmittel</a:t>
            </a:r>
          </a:p>
        </p:txBody>
      </p:sp>
      <p:sp>
        <p:nvSpPr>
          <p:cNvPr id="127" name="Textplatzhalter 15">
            <a:extLst>
              <a:ext uri="{FF2B5EF4-FFF2-40B4-BE49-F238E27FC236}">
                <a16:creationId xmlns:a16="http://schemas.microsoft.com/office/drawing/2014/main" id="{8CD5F192-DE10-A146-E602-E2D72488F428}"/>
              </a:ext>
            </a:extLst>
          </p:cNvPr>
          <p:cNvSpPr txBox="1">
            <a:spLocks/>
          </p:cNvSpPr>
          <p:nvPr/>
        </p:nvSpPr>
        <p:spPr bwMode="gray">
          <a:xfrm>
            <a:off x="1780566" y="3287268"/>
            <a:ext cx="2573874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 b="1" dirty="0">
                <a:solidFill>
                  <a:schemeClr val="accent6"/>
                </a:solidFill>
              </a:rPr>
              <a:t>100 % der Kosten für wichtige Schutzimpfungen vor Auslandsreisen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(Cholera, Typhus, Malaria, 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Gelbfieber, Hepatitis)</a:t>
            </a:r>
          </a:p>
        </p:txBody>
      </p:sp>
      <p:sp>
        <p:nvSpPr>
          <p:cNvPr id="128" name="Textplatzhalter 15">
            <a:extLst>
              <a:ext uri="{FF2B5EF4-FFF2-40B4-BE49-F238E27FC236}">
                <a16:creationId xmlns:a16="http://schemas.microsoft.com/office/drawing/2014/main" id="{11E9B913-0BD2-88B9-A1BB-B7E36BD7AB6D}"/>
              </a:ext>
            </a:extLst>
          </p:cNvPr>
          <p:cNvSpPr txBox="1">
            <a:spLocks/>
          </p:cNvSpPr>
          <p:nvPr/>
        </p:nvSpPr>
        <p:spPr bwMode="gray">
          <a:xfrm>
            <a:off x="1254640" y="2458171"/>
            <a:ext cx="3402915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 b="1" dirty="0">
                <a:solidFill>
                  <a:schemeClr val="accent6"/>
                </a:solidFill>
              </a:rPr>
              <a:t>100 % der Kosten für die kieferorthopädische Behandlung im Fall eines Unfalls oder einer schweren Krankheit</a:t>
            </a:r>
          </a:p>
        </p:txBody>
      </p:sp>
      <p:sp>
        <p:nvSpPr>
          <p:cNvPr id="129" name="Textplatzhalter 15">
            <a:extLst>
              <a:ext uri="{FF2B5EF4-FFF2-40B4-BE49-F238E27FC236}">
                <a16:creationId xmlns:a16="http://schemas.microsoft.com/office/drawing/2014/main" id="{B85898BD-68E1-1283-392E-5E4F20DDA40A}"/>
              </a:ext>
            </a:extLst>
          </p:cNvPr>
          <p:cNvSpPr txBox="1">
            <a:spLocks/>
          </p:cNvSpPr>
          <p:nvPr/>
        </p:nvSpPr>
        <p:spPr bwMode="gray">
          <a:xfrm>
            <a:off x="2597393" y="1848715"/>
            <a:ext cx="3329437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 b="1" dirty="0">
                <a:solidFill>
                  <a:schemeClr val="accent6"/>
                </a:solidFill>
              </a:rPr>
              <a:t>10,– EUR Tagegeld im Krankenhaus</a:t>
            </a:r>
            <a:br>
              <a:rPr lang="de-DE" sz="1100" b="1" dirty="0">
                <a:solidFill>
                  <a:schemeClr val="accent6"/>
                </a:solidFill>
              </a:rPr>
            </a:br>
            <a:r>
              <a:rPr lang="de-DE" sz="1100" b="1" dirty="0">
                <a:solidFill>
                  <a:schemeClr val="accent6"/>
                </a:solidFill>
              </a:rPr>
              <a:t> pro Tag für maximal 28 Tage im Jahr</a:t>
            </a:r>
          </a:p>
        </p:txBody>
      </p:sp>
      <p:sp>
        <p:nvSpPr>
          <p:cNvPr id="119" name="Textplatzhalter 15">
            <a:extLst>
              <a:ext uri="{FF2B5EF4-FFF2-40B4-BE49-F238E27FC236}">
                <a16:creationId xmlns:a16="http://schemas.microsoft.com/office/drawing/2014/main" id="{780C3AC6-C7BC-BC80-F881-9DB10BF1CE7C}"/>
              </a:ext>
            </a:extLst>
          </p:cNvPr>
          <p:cNvSpPr txBox="1">
            <a:spLocks/>
          </p:cNvSpPr>
          <p:nvPr/>
        </p:nvSpPr>
        <p:spPr bwMode="gray">
          <a:xfrm>
            <a:off x="5547264" y="5656023"/>
            <a:ext cx="1117999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6"/>
                </a:solidFill>
              </a:rPr>
              <a:t>100 % der Kosten für Hörhilf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C842129-AFF2-F1A8-C67B-88A9DF4BEBE9}"/>
              </a:ext>
            </a:extLst>
          </p:cNvPr>
          <p:cNvSpPr txBox="1"/>
          <p:nvPr/>
        </p:nvSpPr>
        <p:spPr>
          <a:xfrm>
            <a:off x="232683" y="6330214"/>
            <a:ext cx="6099456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de-DE" sz="1000" dirty="0">
                <a:solidFill>
                  <a:schemeClr val="accent6"/>
                </a:solidFill>
              </a:rPr>
              <a:t>*Ohne Vorleistung durch die GKV oder PKV bzw. ohne Änderung der Sehschärfe um mind. 0,5 Dioptrien seit dem letzten Bezug einer Sehhilfe gelten die Erstattungshöchstsätze für zwei Kalenderjahre.</a:t>
            </a:r>
          </a:p>
        </p:txBody>
      </p:sp>
    </p:spTree>
    <p:extLst>
      <p:ext uri="{BB962C8B-B14F-4D97-AF65-F5344CB8AC3E}">
        <p14:creationId xmlns:p14="http://schemas.microsoft.com/office/powerpoint/2010/main" val="224476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7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500"/>
                                        <p:tgtEl>
                                          <p:spTgt spid="7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500"/>
                                        <p:tgtEl>
                                          <p:spTgt spid="7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500"/>
                                        <p:tgtEl>
                                          <p:spTgt spid="7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2" dur="500"/>
                                        <p:tgtEl>
                                          <p:spTgt spid="7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500"/>
                                        <p:tgtEl>
                                          <p:spTgt spid="7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500"/>
                                        <p:tgtEl>
                                          <p:spTgt spid="7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500"/>
                                        <p:tgtEl>
                                          <p:spTgt spid="7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2" dur="500"/>
                                        <p:tgtEl>
                                          <p:spTgt spid="7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2" dur="500"/>
                                        <p:tgtEl>
                                          <p:spTgt spid="7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2" dur="500"/>
                                        <p:tgtEl>
                                          <p:spTgt spid="7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2" dur="500"/>
                                        <p:tgtEl>
                                          <p:spTgt spid="7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1" grpId="0" uiExpand="1">
        <p:bldSub>
          <a:bldChart bld="category"/>
        </p:bldSub>
      </p:bldGraphic>
      <p:bldP spid="93" grpId="0" animBg="1"/>
      <p:bldP spid="109" grpId="0" animBg="1"/>
      <p:bldP spid="120" grpId="0"/>
      <p:bldP spid="121" grpId="0"/>
      <p:bldP spid="122" grpId="0"/>
      <p:bldP spid="123" grpId="0"/>
      <p:bldP spid="124" grpId="0"/>
      <p:bldP spid="125" grpId="0"/>
      <p:bldP spid="126" grpId="0"/>
      <p:bldP spid="127" grpId="0"/>
      <p:bldP spid="128" grpId="0"/>
      <p:bldP spid="129" grpId="0"/>
      <p:bldP spid="1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>
            <a:extLst>
              <a:ext uri="{FF2B5EF4-FFF2-40B4-BE49-F238E27FC236}">
                <a16:creationId xmlns:a16="http://schemas.microsoft.com/office/drawing/2014/main" id="{F8B54E86-06C5-4664-A340-D1F76A669C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0000" y="179999"/>
            <a:ext cx="11832000" cy="6489089"/>
          </a:xfrm>
          <a:solidFill>
            <a:schemeClr val="bg2"/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F5061F25-925F-B994-C451-1B421FE6C719}"/>
              </a:ext>
            </a:extLst>
          </p:cNvPr>
          <p:cNvSpPr/>
          <p:nvPr/>
        </p:nvSpPr>
        <p:spPr>
          <a:xfrm>
            <a:off x="180001" y="179999"/>
            <a:ext cx="11832000" cy="649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58000">
                <a:srgbClr val="000000">
                  <a:alpha val="10000"/>
                </a:srgbClr>
              </a:gs>
              <a:gs pos="74000">
                <a:schemeClr val="tx1">
                  <a:alpha val="60000"/>
                </a:schemeClr>
              </a:gs>
              <a:gs pos="94000">
                <a:schemeClr val="tx1">
                  <a:alpha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443C24D-05B3-F150-F5D7-0D914BE11128}"/>
              </a:ext>
            </a:extLst>
          </p:cNvPr>
          <p:cNvSpPr/>
          <p:nvPr/>
        </p:nvSpPr>
        <p:spPr bwMode="gray">
          <a:xfrm>
            <a:off x="407987" y="516885"/>
            <a:ext cx="116493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bg1"/>
                </a:solidFill>
              </a:rPr>
              <a:t>Viel Budget </a:t>
            </a:r>
            <a:br>
              <a:rPr lang="de-DE" sz="5400" dirty="0">
                <a:solidFill>
                  <a:schemeClr val="bg1"/>
                </a:solidFill>
              </a:rPr>
            </a:br>
            <a:r>
              <a:rPr lang="de-DE" sz="5400" dirty="0">
                <a:solidFill>
                  <a:schemeClr val="bg1"/>
                </a:solidFill>
              </a:rPr>
              <a:t>für wenig Geld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9007F48E-12A9-49BE-3411-6AAB59A42B69}"/>
              </a:ext>
            </a:extLst>
          </p:cNvPr>
          <p:cNvSpPr txBox="1">
            <a:spLocks/>
          </p:cNvSpPr>
          <p:nvPr/>
        </p:nvSpPr>
        <p:spPr bwMode="gray">
          <a:xfrm>
            <a:off x="577528" y="2452255"/>
            <a:ext cx="4374916" cy="14450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dirty="0">
                <a:solidFill>
                  <a:schemeClr val="bg1"/>
                </a:solidFill>
              </a:rPr>
              <a:t>Im Rahmen des steuerlichen Sachbezug können Sie pro Monat pro Mitarbeiter bis zu 50 EUR investieren.</a:t>
            </a:r>
            <a:br>
              <a:rPr lang="de-DE" sz="1400" dirty="0">
                <a:solidFill>
                  <a:schemeClr val="bg1"/>
                </a:solidFill>
              </a:rPr>
            </a:b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6658FF3-8200-6E17-AB30-12DC31955B05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Ein</a:t>
            </a:r>
            <a:r>
              <a:rPr lang="de-DE" sz="5400" b="1" dirty="0">
                <a:solidFill>
                  <a:schemeClr val="accent1"/>
                </a:solidFill>
              </a:rPr>
              <a:t> </a:t>
            </a:r>
            <a:r>
              <a:rPr lang="de-DE" sz="5400" dirty="0">
                <a:solidFill>
                  <a:schemeClr val="accent1"/>
                </a:solidFill>
              </a:rPr>
              <a:t>jährliches</a:t>
            </a:r>
            <a:r>
              <a:rPr lang="de-DE" sz="5400" b="1" dirty="0">
                <a:solidFill>
                  <a:schemeClr val="accent1"/>
                </a:solidFill>
              </a:rPr>
              <a:t> Budget</a:t>
            </a:r>
            <a:endParaRPr lang="de-DE" sz="5400" dirty="0">
              <a:solidFill>
                <a:schemeClr val="accent1"/>
              </a:solidFill>
            </a:endParaRPr>
          </a:p>
        </p:txBody>
      </p:sp>
      <p:sp>
        <p:nvSpPr>
          <p:cNvPr id="5" name="Kreis: nicht ausgefüllt 4">
            <a:extLst>
              <a:ext uri="{FF2B5EF4-FFF2-40B4-BE49-F238E27FC236}">
                <a16:creationId xmlns:a16="http://schemas.microsoft.com/office/drawing/2014/main" id="{5371303D-C0E5-6EF8-81D8-787FE905E80C}"/>
              </a:ext>
            </a:extLst>
          </p:cNvPr>
          <p:cNvSpPr/>
          <p:nvPr/>
        </p:nvSpPr>
        <p:spPr>
          <a:xfrm>
            <a:off x="407987" y="5021194"/>
            <a:ext cx="974244" cy="974244"/>
          </a:xfrm>
          <a:prstGeom prst="donut">
            <a:avLst>
              <a:gd name="adj" fmla="val 206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6" name="Kreis: nicht ausgefüllt 5">
            <a:extLst>
              <a:ext uri="{FF2B5EF4-FFF2-40B4-BE49-F238E27FC236}">
                <a16:creationId xmlns:a16="http://schemas.microsoft.com/office/drawing/2014/main" id="{69F5F2F5-0076-90D7-A9D4-9A46AF5BB070}"/>
              </a:ext>
            </a:extLst>
          </p:cNvPr>
          <p:cNvSpPr/>
          <p:nvPr/>
        </p:nvSpPr>
        <p:spPr>
          <a:xfrm>
            <a:off x="1726210" y="4769537"/>
            <a:ext cx="1229426" cy="1229426"/>
          </a:xfrm>
          <a:prstGeom prst="donut">
            <a:avLst>
              <a:gd name="adj" fmla="val 203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Kreis: nicht ausgefüllt 6">
            <a:extLst>
              <a:ext uri="{FF2B5EF4-FFF2-40B4-BE49-F238E27FC236}">
                <a16:creationId xmlns:a16="http://schemas.microsoft.com/office/drawing/2014/main" id="{6EAEA74C-0B3E-CE16-2FD6-5CC8F8C17A6A}"/>
              </a:ext>
            </a:extLst>
          </p:cNvPr>
          <p:cNvSpPr/>
          <p:nvPr/>
        </p:nvSpPr>
        <p:spPr>
          <a:xfrm>
            <a:off x="3299615" y="4554062"/>
            <a:ext cx="1463342" cy="1463342"/>
          </a:xfrm>
          <a:prstGeom prst="donut">
            <a:avLst>
              <a:gd name="adj" fmla="val 201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Kreis: nicht ausgefüllt 7">
            <a:extLst>
              <a:ext uri="{FF2B5EF4-FFF2-40B4-BE49-F238E27FC236}">
                <a16:creationId xmlns:a16="http://schemas.microsoft.com/office/drawing/2014/main" id="{C491DC0F-4A67-A02B-08B9-F17651518F5A}"/>
              </a:ext>
            </a:extLst>
          </p:cNvPr>
          <p:cNvSpPr/>
          <p:nvPr/>
        </p:nvSpPr>
        <p:spPr>
          <a:xfrm>
            <a:off x="5106936" y="4284851"/>
            <a:ext cx="1710587" cy="1710587"/>
          </a:xfrm>
          <a:prstGeom prst="donut">
            <a:avLst>
              <a:gd name="adj" fmla="val 20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Kreis: nicht ausgefüllt 11">
            <a:extLst>
              <a:ext uri="{FF2B5EF4-FFF2-40B4-BE49-F238E27FC236}">
                <a16:creationId xmlns:a16="http://schemas.microsoft.com/office/drawing/2014/main" id="{5D6D6AFB-745A-359D-550F-32EB1A39E97D}"/>
              </a:ext>
            </a:extLst>
          </p:cNvPr>
          <p:cNvSpPr/>
          <p:nvPr/>
        </p:nvSpPr>
        <p:spPr>
          <a:xfrm>
            <a:off x="7161502" y="4036758"/>
            <a:ext cx="1958680" cy="1958680"/>
          </a:xfrm>
          <a:prstGeom prst="donut">
            <a:avLst>
              <a:gd name="adj" fmla="val 198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Kreis: nicht ausgefüllt 12">
            <a:extLst>
              <a:ext uri="{FF2B5EF4-FFF2-40B4-BE49-F238E27FC236}">
                <a16:creationId xmlns:a16="http://schemas.microsoft.com/office/drawing/2014/main" id="{889EB370-B011-42AA-BD90-AC59757C7B78}"/>
              </a:ext>
            </a:extLst>
          </p:cNvPr>
          <p:cNvSpPr/>
          <p:nvPr/>
        </p:nvSpPr>
        <p:spPr>
          <a:xfrm>
            <a:off x="9464161" y="3675587"/>
            <a:ext cx="2319851" cy="2319851"/>
          </a:xfrm>
          <a:prstGeom prst="donut">
            <a:avLst>
              <a:gd name="adj" fmla="val 188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C0F3D71-81AD-FF74-C967-529A2A15DC1A}"/>
              </a:ext>
            </a:extLst>
          </p:cNvPr>
          <p:cNvSpPr txBox="1"/>
          <p:nvPr/>
        </p:nvSpPr>
        <p:spPr>
          <a:xfrm>
            <a:off x="407987" y="5230024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3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F0657D3-A5E3-A860-B133-15FCE3593107}"/>
              </a:ext>
            </a:extLst>
          </p:cNvPr>
          <p:cNvSpPr txBox="1"/>
          <p:nvPr/>
        </p:nvSpPr>
        <p:spPr>
          <a:xfrm>
            <a:off x="1853802" y="5119606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6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305665D-E62B-570F-34A0-626F7E3918F8}"/>
              </a:ext>
            </a:extLst>
          </p:cNvPr>
          <p:cNvSpPr txBox="1"/>
          <p:nvPr/>
        </p:nvSpPr>
        <p:spPr>
          <a:xfrm>
            <a:off x="3544983" y="5021089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9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C119FCA-E3A2-95C3-8D02-CA7D6331FEA2}"/>
              </a:ext>
            </a:extLst>
          </p:cNvPr>
          <p:cNvSpPr txBox="1"/>
          <p:nvPr/>
        </p:nvSpPr>
        <p:spPr>
          <a:xfrm>
            <a:off x="5475108" y="4875500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200 EU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DE1AB6E-945B-8366-C745-BC735E51606C}"/>
              </a:ext>
            </a:extLst>
          </p:cNvPr>
          <p:cNvSpPr txBox="1"/>
          <p:nvPr/>
        </p:nvSpPr>
        <p:spPr>
          <a:xfrm>
            <a:off x="7653720" y="4737806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500 EUR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D31E0C2-6051-6648-9321-DD8F317418D7}"/>
              </a:ext>
            </a:extLst>
          </p:cNvPr>
          <p:cNvSpPr txBox="1"/>
          <p:nvPr/>
        </p:nvSpPr>
        <p:spPr>
          <a:xfrm>
            <a:off x="10136964" y="4564581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700 EUR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9782C3A-05CA-378E-C7EE-45F9AB1F6AFA}"/>
              </a:ext>
            </a:extLst>
          </p:cNvPr>
          <p:cNvSpPr txBox="1">
            <a:spLocks/>
          </p:cNvSpPr>
          <p:nvPr/>
        </p:nvSpPr>
        <p:spPr>
          <a:xfrm>
            <a:off x="5379572" y="2157021"/>
            <a:ext cx="1182059" cy="3982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28,90 EUR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E6EC77D-FBCF-F68F-4860-40F85466B716}"/>
              </a:ext>
            </a:extLst>
          </p:cNvPr>
          <p:cNvSpPr txBox="1">
            <a:spLocks/>
          </p:cNvSpPr>
          <p:nvPr/>
        </p:nvSpPr>
        <p:spPr bwMode="gray">
          <a:xfrm>
            <a:off x="407988" y="2157021"/>
            <a:ext cx="974242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9,90 EUR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3D5F82D-D753-111A-51C5-B670FC33B0F0}"/>
              </a:ext>
            </a:extLst>
          </p:cNvPr>
          <p:cNvSpPr txBox="1">
            <a:spLocks/>
          </p:cNvSpPr>
          <p:nvPr/>
        </p:nvSpPr>
        <p:spPr bwMode="gray">
          <a:xfrm>
            <a:off x="1799209" y="2153429"/>
            <a:ext cx="1101831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17,90 EUR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CE389D3-1436-139D-5164-2DFAFA175259}"/>
              </a:ext>
            </a:extLst>
          </p:cNvPr>
          <p:cNvSpPr txBox="1">
            <a:spLocks/>
          </p:cNvSpPr>
          <p:nvPr/>
        </p:nvSpPr>
        <p:spPr bwMode="gray">
          <a:xfrm>
            <a:off x="3501229" y="2157021"/>
            <a:ext cx="1036941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23,90 EUR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8224A287-E690-9234-BD9F-0AA3C15EA424}"/>
              </a:ext>
            </a:extLst>
          </p:cNvPr>
          <p:cNvSpPr txBox="1">
            <a:spLocks/>
          </p:cNvSpPr>
          <p:nvPr/>
        </p:nvSpPr>
        <p:spPr bwMode="gray">
          <a:xfrm>
            <a:off x="7530889" y="2157021"/>
            <a:ext cx="1182058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33,90 EUR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2630BA10-CFF7-EADE-1544-A6A81442E67D}"/>
              </a:ext>
            </a:extLst>
          </p:cNvPr>
          <p:cNvSpPr txBox="1">
            <a:spLocks/>
          </p:cNvSpPr>
          <p:nvPr/>
        </p:nvSpPr>
        <p:spPr bwMode="gray">
          <a:xfrm>
            <a:off x="10068723" y="2153429"/>
            <a:ext cx="1101829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37,90 EUR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8BA6575-A0DA-E511-F9CB-CE99A6B87419}"/>
              </a:ext>
            </a:extLst>
          </p:cNvPr>
          <p:cNvCxnSpPr>
            <a:cxnSpLocks/>
          </p:cNvCxnSpPr>
          <p:nvPr/>
        </p:nvCxnSpPr>
        <p:spPr>
          <a:xfrm>
            <a:off x="889992" y="2631769"/>
            <a:ext cx="0" cy="21194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86088A64-D0F0-D6E7-E232-3D4CC674E5E8}"/>
              </a:ext>
            </a:extLst>
          </p:cNvPr>
          <p:cNvCxnSpPr>
            <a:cxnSpLocks/>
          </p:cNvCxnSpPr>
          <p:nvPr/>
        </p:nvCxnSpPr>
        <p:spPr>
          <a:xfrm>
            <a:off x="2340923" y="2631769"/>
            <a:ext cx="0" cy="175940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5743336-28A6-5ACF-154C-B554AE32E6DB}"/>
              </a:ext>
            </a:extLst>
          </p:cNvPr>
          <p:cNvCxnSpPr>
            <a:cxnSpLocks/>
          </p:cNvCxnSpPr>
          <p:nvPr/>
        </p:nvCxnSpPr>
        <p:spPr>
          <a:xfrm>
            <a:off x="4029295" y="2631769"/>
            <a:ext cx="0" cy="15254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D2B2A94-C5C1-DF8B-703A-663104972A91}"/>
              </a:ext>
            </a:extLst>
          </p:cNvPr>
          <p:cNvCxnSpPr>
            <a:cxnSpLocks/>
          </p:cNvCxnSpPr>
          <p:nvPr/>
        </p:nvCxnSpPr>
        <p:spPr>
          <a:xfrm>
            <a:off x="5951538" y="2631769"/>
            <a:ext cx="0" cy="11923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8FBCA2F8-DCDE-8E5C-88AF-F5D26CF57CE9}"/>
              </a:ext>
            </a:extLst>
          </p:cNvPr>
          <p:cNvCxnSpPr>
            <a:cxnSpLocks/>
          </p:cNvCxnSpPr>
          <p:nvPr/>
        </p:nvCxnSpPr>
        <p:spPr>
          <a:xfrm>
            <a:off x="8134602" y="2631769"/>
            <a:ext cx="0" cy="98718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BD4436B-A563-1672-CAF6-82473D9E12FC}"/>
              </a:ext>
            </a:extLst>
          </p:cNvPr>
          <p:cNvCxnSpPr>
            <a:cxnSpLocks/>
          </p:cNvCxnSpPr>
          <p:nvPr/>
        </p:nvCxnSpPr>
        <p:spPr>
          <a:xfrm>
            <a:off x="10617692" y="2631769"/>
            <a:ext cx="0" cy="63210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0" name="Gruppieren 1359">
            <a:extLst>
              <a:ext uri="{FF2B5EF4-FFF2-40B4-BE49-F238E27FC236}">
                <a16:creationId xmlns:a16="http://schemas.microsoft.com/office/drawing/2014/main" id="{BE266932-8847-E471-FC4E-315FC9EDC29B}"/>
              </a:ext>
            </a:extLst>
          </p:cNvPr>
          <p:cNvGrpSpPr>
            <a:grpSpLocks noChangeAspect="1"/>
          </p:cNvGrpSpPr>
          <p:nvPr/>
        </p:nvGrpSpPr>
        <p:grpSpPr>
          <a:xfrm>
            <a:off x="9907601" y="663431"/>
            <a:ext cx="1729482" cy="732187"/>
            <a:chOff x="8183563" y="3897313"/>
            <a:chExt cx="2665484" cy="1128449"/>
          </a:xfrm>
        </p:grpSpPr>
        <p:sp>
          <p:nvSpPr>
            <p:cNvPr id="1361" name="Rounded Rectangle 9">
              <a:extLst>
                <a:ext uri="{FF2B5EF4-FFF2-40B4-BE49-F238E27FC236}">
                  <a16:creationId xmlns:a16="http://schemas.microsoft.com/office/drawing/2014/main" id="{160717EA-CDD0-17F2-9EF4-F2185BFE49C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183563" y="3897313"/>
              <a:ext cx="2665484" cy="1128449"/>
            </a:xfrm>
            <a:prstGeom prst="roundRect">
              <a:avLst>
                <a:gd name="adj" fmla="val 4518"/>
              </a:avLst>
            </a:prstGeom>
            <a:solidFill>
              <a:srgbClr val="194383"/>
            </a:solidFill>
          </p:spPr>
          <p:txBody>
            <a:bodyPr vert="horz" lIns="1008000" tIns="180000" rIns="180000" bIns="180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</a:pPr>
              <a:r>
                <a:rPr lang="de-DE" sz="1200" dirty="0">
                  <a:solidFill>
                    <a:schemeClr val="bg1"/>
                  </a:solidFill>
                </a:rPr>
                <a:t>Tarif BKB</a:t>
              </a:r>
            </a:p>
          </p:txBody>
        </p:sp>
        <p:grpSp>
          <p:nvGrpSpPr>
            <p:cNvPr id="1362" name="Grafik 64">
              <a:extLst>
                <a:ext uri="{FF2B5EF4-FFF2-40B4-BE49-F238E27FC236}">
                  <a16:creationId xmlns:a16="http://schemas.microsoft.com/office/drawing/2014/main" id="{A6DF5338-747D-D86B-945B-E2EABF4D10A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368919" y="4135454"/>
              <a:ext cx="652167" cy="652167"/>
              <a:chOff x="4391025" y="1724025"/>
              <a:chExt cx="3409950" cy="3409950"/>
            </a:xfrm>
            <a:solidFill>
              <a:schemeClr val="bg1"/>
            </a:solidFill>
          </p:grpSpPr>
          <p:sp>
            <p:nvSpPr>
              <p:cNvPr id="1363" name="Freihandform: Form 1362">
                <a:extLst>
                  <a:ext uri="{FF2B5EF4-FFF2-40B4-BE49-F238E27FC236}">
                    <a16:creationId xmlns:a16="http://schemas.microsoft.com/office/drawing/2014/main" id="{B725D6D8-40A0-EF2D-B68A-F555C4371328}"/>
                  </a:ext>
                </a:extLst>
              </p:cNvPr>
              <p:cNvSpPr/>
              <p:nvPr/>
            </p:nvSpPr>
            <p:spPr bwMode="gray">
              <a:xfrm>
                <a:off x="5813203" y="2385060"/>
                <a:ext cx="561975" cy="561975"/>
              </a:xfrm>
              <a:custGeom>
                <a:avLst/>
                <a:gdLst>
                  <a:gd name="connsiteX0" fmla="*/ 0 w 561975"/>
                  <a:gd name="connsiteY0" fmla="*/ 284798 h 561975"/>
                  <a:gd name="connsiteX1" fmla="*/ 284702 w 561975"/>
                  <a:gd name="connsiteY1" fmla="*/ 565785 h 561975"/>
                  <a:gd name="connsiteX2" fmla="*/ 569405 w 561975"/>
                  <a:gd name="connsiteY2" fmla="*/ 281083 h 561975"/>
                  <a:gd name="connsiteX3" fmla="*/ 284702 w 561975"/>
                  <a:gd name="connsiteY3" fmla="*/ 0 h 561975"/>
                  <a:gd name="connsiteX4" fmla="*/ 0 w 561975"/>
                  <a:gd name="connsiteY4" fmla="*/ 284798 h 56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975" h="561975">
                    <a:moveTo>
                      <a:pt x="0" y="284798"/>
                    </a:moveTo>
                    <a:cubicBezTo>
                      <a:pt x="0" y="436436"/>
                      <a:pt x="125635" y="565785"/>
                      <a:pt x="284702" y="565785"/>
                    </a:cubicBezTo>
                    <a:cubicBezTo>
                      <a:pt x="443770" y="565785"/>
                      <a:pt x="569405" y="436436"/>
                      <a:pt x="569405" y="281083"/>
                    </a:cubicBezTo>
                    <a:cubicBezTo>
                      <a:pt x="569405" y="125730"/>
                      <a:pt x="443770" y="0"/>
                      <a:pt x="284702" y="0"/>
                    </a:cubicBezTo>
                    <a:cubicBezTo>
                      <a:pt x="125635" y="0"/>
                      <a:pt x="0" y="125730"/>
                      <a:pt x="0" y="28479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4" name="Freihandform: Form 1363">
                <a:extLst>
                  <a:ext uri="{FF2B5EF4-FFF2-40B4-BE49-F238E27FC236}">
                    <a16:creationId xmlns:a16="http://schemas.microsoft.com/office/drawing/2014/main" id="{A9D16A5E-9135-8E12-4C69-D5951D11DE00}"/>
                  </a:ext>
                </a:extLst>
              </p:cNvPr>
              <p:cNvSpPr/>
              <p:nvPr/>
            </p:nvSpPr>
            <p:spPr bwMode="gray">
              <a:xfrm>
                <a:off x="5813203" y="3140678"/>
                <a:ext cx="561975" cy="1323975"/>
              </a:xfrm>
              <a:custGeom>
                <a:avLst/>
                <a:gdLst>
                  <a:gd name="connsiteX0" fmla="*/ 0 w 561975"/>
                  <a:gd name="connsiteY0" fmla="*/ 0 h 1323975"/>
                  <a:gd name="connsiteX1" fmla="*/ 569500 w 561975"/>
                  <a:gd name="connsiteY1" fmla="*/ 0 h 1323975"/>
                  <a:gd name="connsiteX2" fmla="*/ 569500 w 561975"/>
                  <a:gd name="connsiteY2" fmla="*/ 1328737 h 1323975"/>
                  <a:gd name="connsiteX3" fmla="*/ 0 w 561975"/>
                  <a:gd name="connsiteY3" fmla="*/ 1328737 h 132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1975" h="1323975">
                    <a:moveTo>
                      <a:pt x="0" y="0"/>
                    </a:moveTo>
                    <a:lnTo>
                      <a:pt x="569500" y="0"/>
                    </a:lnTo>
                    <a:lnTo>
                      <a:pt x="569500" y="1328737"/>
                    </a:lnTo>
                    <a:lnTo>
                      <a:pt x="0" y="132873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5" name="Freihandform: Form 1364">
                <a:extLst>
                  <a:ext uri="{FF2B5EF4-FFF2-40B4-BE49-F238E27FC236}">
                    <a16:creationId xmlns:a16="http://schemas.microsoft.com/office/drawing/2014/main" id="{BD890637-CA41-3037-6260-2A388CA2B462}"/>
                  </a:ext>
                </a:extLst>
              </p:cNvPr>
              <p:cNvSpPr/>
              <p:nvPr/>
            </p:nvSpPr>
            <p:spPr bwMode="gray">
              <a:xfrm>
                <a:off x="6192869" y="3503867"/>
                <a:ext cx="1600200" cy="1619250"/>
              </a:xfrm>
              <a:custGeom>
                <a:avLst/>
                <a:gdLst>
                  <a:gd name="connsiteX0" fmla="*/ 1417892 w 1600200"/>
                  <a:gd name="connsiteY0" fmla="*/ 0 h 1619250"/>
                  <a:gd name="connsiteX1" fmla="*/ 0 w 1600200"/>
                  <a:gd name="connsiteY1" fmla="*/ 1437703 h 1619250"/>
                  <a:gd name="connsiteX2" fmla="*/ 0 w 1600200"/>
                  <a:gd name="connsiteY2" fmla="*/ 1627537 h 1619250"/>
                  <a:gd name="connsiteX3" fmla="*/ 1607725 w 1600200"/>
                  <a:gd name="connsiteY3" fmla="*/ 0 h 1619250"/>
                  <a:gd name="connsiteX4" fmla="*/ 1417892 w 1600200"/>
                  <a:gd name="connsiteY4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0200" h="1619250">
                    <a:moveTo>
                      <a:pt x="1417892" y="0"/>
                    </a:moveTo>
                    <a:cubicBezTo>
                      <a:pt x="1379506" y="769525"/>
                      <a:pt x="766858" y="1388840"/>
                      <a:pt x="0" y="1437703"/>
                    </a:cubicBezTo>
                    <a:lnTo>
                      <a:pt x="0" y="1627537"/>
                    </a:lnTo>
                    <a:cubicBezTo>
                      <a:pt x="872776" y="1578388"/>
                      <a:pt x="1569053" y="875538"/>
                      <a:pt x="1607725" y="0"/>
                    </a:cubicBezTo>
                    <a:cubicBezTo>
                      <a:pt x="1607630" y="0"/>
                      <a:pt x="1417892" y="0"/>
                      <a:pt x="1417892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6" name="Freihandform: Form 1365">
                <a:extLst>
                  <a:ext uri="{FF2B5EF4-FFF2-40B4-BE49-F238E27FC236}">
                    <a16:creationId xmlns:a16="http://schemas.microsoft.com/office/drawing/2014/main" id="{2D22295D-153E-994D-A69C-8FC15D1B266E}"/>
                  </a:ext>
                </a:extLst>
              </p:cNvPr>
              <p:cNvSpPr/>
              <p:nvPr/>
            </p:nvSpPr>
            <p:spPr bwMode="gray">
              <a:xfrm>
                <a:off x="6192869" y="1724311"/>
                <a:ext cx="1600200" cy="1581150"/>
              </a:xfrm>
              <a:custGeom>
                <a:avLst/>
                <a:gdLst>
                  <a:gd name="connsiteX0" fmla="*/ 1416082 w 1600200"/>
                  <a:gd name="connsiteY0" fmla="*/ 1589818 h 1581150"/>
                  <a:gd name="connsiteX1" fmla="*/ 1605915 w 1600200"/>
                  <a:gd name="connsiteY1" fmla="*/ 1589818 h 1581150"/>
                  <a:gd name="connsiteX2" fmla="*/ 0 w 1600200"/>
                  <a:gd name="connsiteY2" fmla="*/ 0 h 1581150"/>
                  <a:gd name="connsiteX3" fmla="*/ 0 w 1600200"/>
                  <a:gd name="connsiteY3" fmla="*/ 189833 h 1581150"/>
                  <a:gd name="connsiteX4" fmla="*/ 1416082 w 1600200"/>
                  <a:gd name="connsiteY4" fmla="*/ 1589818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0200" h="1581150">
                    <a:moveTo>
                      <a:pt x="1416082" y="1589818"/>
                    </a:moveTo>
                    <a:lnTo>
                      <a:pt x="1605915" y="1589818"/>
                    </a:lnTo>
                    <a:cubicBezTo>
                      <a:pt x="1549146" y="731901"/>
                      <a:pt x="860203" y="48387"/>
                      <a:pt x="0" y="0"/>
                    </a:cubicBezTo>
                    <a:lnTo>
                      <a:pt x="0" y="189833"/>
                    </a:lnTo>
                    <a:cubicBezTo>
                      <a:pt x="754285" y="237839"/>
                      <a:pt x="1359884" y="837819"/>
                      <a:pt x="1416082" y="15898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7" name="Freihandform: Form 1366">
                <a:extLst>
                  <a:ext uri="{FF2B5EF4-FFF2-40B4-BE49-F238E27FC236}">
                    <a16:creationId xmlns:a16="http://schemas.microsoft.com/office/drawing/2014/main" id="{E41DB035-3E9D-E1D8-3F5C-1883A009E84C}"/>
                  </a:ext>
                </a:extLst>
              </p:cNvPr>
              <p:cNvSpPr/>
              <p:nvPr/>
            </p:nvSpPr>
            <p:spPr bwMode="gray">
              <a:xfrm>
                <a:off x="4392835" y="1724025"/>
                <a:ext cx="1609725" cy="1581150"/>
              </a:xfrm>
              <a:custGeom>
                <a:avLst/>
                <a:gdLst>
                  <a:gd name="connsiteX0" fmla="*/ 1610201 w 1609725"/>
                  <a:gd name="connsiteY0" fmla="*/ 189833 h 1581150"/>
                  <a:gd name="connsiteX1" fmla="*/ 1610201 w 1609725"/>
                  <a:gd name="connsiteY1" fmla="*/ 0 h 1581150"/>
                  <a:gd name="connsiteX2" fmla="*/ 0 w 1609725"/>
                  <a:gd name="connsiteY2" fmla="*/ 1590104 h 1581150"/>
                  <a:gd name="connsiteX3" fmla="*/ 189833 w 1609725"/>
                  <a:gd name="connsiteY3" fmla="*/ 1590104 h 1581150"/>
                  <a:gd name="connsiteX4" fmla="*/ 1610201 w 1609725"/>
                  <a:gd name="connsiteY4" fmla="*/ 189833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9725" h="1581150">
                    <a:moveTo>
                      <a:pt x="1610201" y="189833"/>
                    </a:moveTo>
                    <a:lnTo>
                      <a:pt x="1610201" y="0"/>
                    </a:lnTo>
                    <a:cubicBezTo>
                      <a:pt x="747903" y="46387"/>
                      <a:pt x="56864" y="730758"/>
                      <a:pt x="0" y="1590104"/>
                    </a:cubicBezTo>
                    <a:lnTo>
                      <a:pt x="189833" y="1590104"/>
                    </a:lnTo>
                    <a:cubicBezTo>
                      <a:pt x="246126" y="836771"/>
                      <a:pt x="853821" y="235934"/>
                      <a:pt x="1610201" y="1898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8" name="Freihandform: Form 1367">
                <a:extLst>
                  <a:ext uri="{FF2B5EF4-FFF2-40B4-BE49-F238E27FC236}">
                    <a16:creationId xmlns:a16="http://schemas.microsoft.com/office/drawing/2014/main" id="{62D75976-9052-6C10-8EB2-B9D49608670F}"/>
                  </a:ext>
                </a:extLst>
              </p:cNvPr>
              <p:cNvSpPr/>
              <p:nvPr/>
            </p:nvSpPr>
            <p:spPr bwMode="gray">
              <a:xfrm>
                <a:off x="4391025" y="3503867"/>
                <a:ext cx="1609725" cy="1619250"/>
              </a:xfrm>
              <a:custGeom>
                <a:avLst/>
                <a:gdLst>
                  <a:gd name="connsiteX0" fmla="*/ 189833 w 1609725"/>
                  <a:gd name="connsiteY0" fmla="*/ 0 h 1619250"/>
                  <a:gd name="connsiteX1" fmla="*/ 0 w 1609725"/>
                  <a:gd name="connsiteY1" fmla="*/ 0 h 1619250"/>
                  <a:gd name="connsiteX2" fmla="*/ 1612011 w 1609725"/>
                  <a:gd name="connsiteY2" fmla="*/ 1627823 h 1619250"/>
                  <a:gd name="connsiteX3" fmla="*/ 1612011 w 1609725"/>
                  <a:gd name="connsiteY3" fmla="*/ 1437989 h 1619250"/>
                  <a:gd name="connsiteX4" fmla="*/ 189833 w 1609725"/>
                  <a:gd name="connsiteY4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9725" h="1619250">
                    <a:moveTo>
                      <a:pt x="189833" y="0"/>
                    </a:moveTo>
                    <a:lnTo>
                      <a:pt x="0" y="0"/>
                    </a:lnTo>
                    <a:cubicBezTo>
                      <a:pt x="38767" y="876967"/>
                      <a:pt x="737045" y="1580674"/>
                      <a:pt x="1612011" y="1627823"/>
                    </a:cubicBezTo>
                    <a:lnTo>
                      <a:pt x="1612011" y="1437989"/>
                    </a:lnTo>
                    <a:cubicBezTo>
                      <a:pt x="843058" y="1391126"/>
                      <a:pt x="228219" y="771049"/>
                      <a:pt x="189833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395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250"/>
                            </p:stCondLst>
                            <p:childTnLst>
                              <p:par>
                                <p:cTn id="4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250"/>
                            </p:stCondLst>
                            <p:childTnLst>
                              <p:par>
                                <p:cTn id="50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250"/>
                            </p:stCondLst>
                            <p:childTnLst>
                              <p:par>
                                <p:cTn id="64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250"/>
                            </p:stCondLst>
                            <p:childTnLst>
                              <p:par>
                                <p:cTn id="71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6250"/>
                            </p:stCondLst>
                            <p:childTnLst>
                              <p:par>
                                <p:cTn id="78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2" grpId="0" animBg="1"/>
      <p:bldP spid="13" grpId="0" animBg="1"/>
      <p:bldP spid="14" grpId="0"/>
      <p:bldP spid="15" grpId="0"/>
      <p:bldP spid="16" grpId="0"/>
      <p:bldP spid="17" grpId="0"/>
      <p:bldP spid="18" grpId="0"/>
      <p:bldP spid="19" grpId="0"/>
      <p:bldP spid="21" grpId="0"/>
      <p:bldP spid="23" grpId="0"/>
      <p:bldP spid="24" grpId="0"/>
      <p:bldP spid="25" grpId="0"/>
      <p:bldP spid="26" grpId="0"/>
      <p:bldP spid="2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94084703-C2CA-AE9D-7302-DFDE30C3CECB}"/>
              </a:ext>
            </a:extLst>
          </p:cNvPr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8585F1-F298-E204-4CA1-615E7996D2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54113E8-741D-9D48-D9F7-D29D19EB48D2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Noch mehr </a:t>
            </a:r>
            <a:r>
              <a:rPr lang="de-DE" sz="5400" b="1" dirty="0">
                <a:solidFill>
                  <a:schemeClr val="accent1"/>
                </a:solidFill>
              </a:rPr>
              <a:t>Absicherung? </a:t>
            </a:r>
            <a:endParaRPr lang="de-DE" sz="5400" dirty="0">
              <a:solidFill>
                <a:schemeClr val="accent1"/>
              </a:solidFill>
            </a:endParaRP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948BB285-4AEF-A62F-9A5D-2DD11E746E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7555763"/>
              </p:ext>
            </p:extLst>
          </p:nvPr>
        </p:nvGraphicFramePr>
        <p:xfrm>
          <a:off x="3998332" y="2118034"/>
          <a:ext cx="4195336" cy="352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F131262-4E1B-AEB2-F3B2-64BD8C88F826}"/>
              </a:ext>
            </a:extLst>
          </p:cNvPr>
          <p:cNvGrpSpPr>
            <a:grpSpLocks noChangeAspect="1"/>
          </p:cNvGrpSpPr>
          <p:nvPr/>
        </p:nvGrpSpPr>
        <p:grpSpPr>
          <a:xfrm>
            <a:off x="1334503" y="1840291"/>
            <a:ext cx="9104816" cy="4315139"/>
            <a:chOff x="519576" y="1663858"/>
            <a:chExt cx="9104816" cy="4315139"/>
          </a:xfrm>
        </p:grpSpPr>
        <p:sp>
          <p:nvSpPr>
            <p:cNvPr id="4" name="Textplatzhalter 15">
              <a:extLst>
                <a:ext uri="{FF2B5EF4-FFF2-40B4-BE49-F238E27FC236}">
                  <a16:creationId xmlns:a16="http://schemas.microsoft.com/office/drawing/2014/main" id="{394AC67F-D187-E94E-0093-4A8724F123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60640" y="2247226"/>
              <a:ext cx="2698549" cy="169277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100 % der Kosten für Zahnersatz</a:t>
              </a:r>
            </a:p>
          </p:txBody>
        </p:sp>
        <p:sp>
          <p:nvSpPr>
            <p:cNvPr id="6" name="Textplatzhalter 15">
              <a:extLst>
                <a:ext uri="{FF2B5EF4-FFF2-40B4-BE49-F238E27FC236}">
                  <a16:creationId xmlns:a16="http://schemas.microsoft.com/office/drawing/2014/main" id="{82FA0908-2BF6-CB00-8F98-D56B2E8EC04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55568" y="2875765"/>
              <a:ext cx="2321417" cy="33855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100 % der Kosten für Zahnbehandlungen</a:t>
              </a:r>
            </a:p>
          </p:txBody>
        </p:sp>
        <p:sp>
          <p:nvSpPr>
            <p:cNvPr id="7" name="Textplatzhalter 15">
              <a:extLst>
                <a:ext uri="{FF2B5EF4-FFF2-40B4-BE49-F238E27FC236}">
                  <a16:creationId xmlns:a16="http://schemas.microsoft.com/office/drawing/2014/main" id="{AE54E1B2-8F5F-37F8-DFCD-ED7419AE73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036937" y="3614126"/>
              <a:ext cx="2321417" cy="5078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Je nach Budgetstufe jährlich 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200,– bis 300,– EUR für die Zahnprophylaxe und Bleaching</a:t>
              </a:r>
            </a:p>
          </p:txBody>
        </p:sp>
        <p:sp>
          <p:nvSpPr>
            <p:cNvPr id="8" name="Textplatzhalter 15">
              <a:extLst>
                <a:ext uri="{FF2B5EF4-FFF2-40B4-BE49-F238E27FC236}">
                  <a16:creationId xmlns:a16="http://schemas.microsoft.com/office/drawing/2014/main" id="{D47877EC-1FF2-75B4-987D-A41A2CC00A8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762747" y="4573495"/>
              <a:ext cx="2641723" cy="33855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Je nach Budgetstufe jährlich 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250,– bis 450,– EUR für Sehhilfen</a:t>
              </a:r>
            </a:p>
          </p:txBody>
        </p:sp>
        <p:sp>
          <p:nvSpPr>
            <p:cNvPr id="9" name="Textplatzhalter 15">
              <a:extLst>
                <a:ext uri="{FF2B5EF4-FFF2-40B4-BE49-F238E27FC236}">
                  <a16:creationId xmlns:a16="http://schemas.microsoft.com/office/drawing/2014/main" id="{56713A0E-86DD-F86F-4C55-4A610A0BCA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096392" y="5236741"/>
              <a:ext cx="3528000" cy="33855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100 % der Kosten für Augenlasern zur Korrektur 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der Fehlsichtigkeit bis zur Budgethöhe</a:t>
              </a:r>
            </a:p>
          </p:txBody>
        </p:sp>
        <p:sp>
          <p:nvSpPr>
            <p:cNvPr id="10" name="Textplatzhalter 15">
              <a:extLst>
                <a:ext uri="{FF2B5EF4-FFF2-40B4-BE49-F238E27FC236}">
                  <a16:creationId xmlns:a16="http://schemas.microsoft.com/office/drawing/2014/main" id="{9F877152-47CE-2509-67C1-DEE295819E0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22074" y="5471166"/>
              <a:ext cx="1117999" cy="5078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100" b="1" dirty="0">
                  <a:solidFill>
                    <a:schemeClr val="accent6"/>
                  </a:solidFill>
                </a:rPr>
                <a:t>100 % der Kosten für Hörhilfen</a:t>
              </a:r>
            </a:p>
          </p:txBody>
        </p:sp>
        <p:sp>
          <p:nvSpPr>
            <p:cNvPr id="11" name="Textplatzhalter 15">
              <a:extLst>
                <a:ext uri="{FF2B5EF4-FFF2-40B4-BE49-F238E27FC236}">
                  <a16:creationId xmlns:a16="http://schemas.microsoft.com/office/drawing/2014/main" id="{D42DA147-B656-065F-710E-24F9D6DE16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573699" y="5236741"/>
              <a:ext cx="2922041" cy="33855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100 % der Kosten für Naturheilverfahren durch Heilpraktiker und Ärzte</a:t>
              </a:r>
            </a:p>
          </p:txBody>
        </p:sp>
        <p:sp>
          <p:nvSpPr>
            <p:cNvPr id="12" name="Textplatzhalter 15">
              <a:extLst>
                <a:ext uri="{FF2B5EF4-FFF2-40B4-BE49-F238E27FC236}">
                  <a16:creationId xmlns:a16="http://schemas.microsoft.com/office/drawing/2014/main" id="{A6BC05D5-57F1-418E-80E5-735183CE484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1325" y="4488856"/>
              <a:ext cx="3144367" cy="5078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100 % der Kosten für ärztlich verordnete Heilmittel, bestimmte Hilfsmittel 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sowie Arznei- und Verbandmittel</a:t>
              </a:r>
            </a:p>
          </p:txBody>
        </p:sp>
        <p:sp>
          <p:nvSpPr>
            <p:cNvPr id="13" name="Textplatzhalter 15">
              <a:extLst>
                <a:ext uri="{FF2B5EF4-FFF2-40B4-BE49-F238E27FC236}">
                  <a16:creationId xmlns:a16="http://schemas.microsoft.com/office/drawing/2014/main" id="{F6C74428-3BD3-3B87-296A-51C13A7298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204696" y="3698765"/>
              <a:ext cx="2321417" cy="33855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Jährlich 250,– EUR für ärztlich verordnetes Kinesiotaping</a:t>
              </a:r>
            </a:p>
          </p:txBody>
        </p:sp>
        <p:sp>
          <p:nvSpPr>
            <p:cNvPr id="14" name="Textplatzhalter 15">
              <a:extLst>
                <a:ext uri="{FF2B5EF4-FFF2-40B4-BE49-F238E27FC236}">
                  <a16:creationId xmlns:a16="http://schemas.microsoft.com/office/drawing/2014/main" id="{5E0A9C39-AE59-3242-A657-8D397A3B67C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0923" y="2706489"/>
              <a:ext cx="2817919" cy="677108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100 % der Kosten für wichtige Schutzimpfungen vor Auslandsreisen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(Cholera, Typhus, Malaria, </a:t>
              </a:r>
              <a:br>
                <a:rPr lang="de-DE" sz="1100" b="1" dirty="0">
                  <a:solidFill>
                    <a:schemeClr val="accent6"/>
                  </a:solidFill>
                </a:rPr>
              </a:br>
              <a:r>
                <a:rPr lang="de-DE" sz="1100" b="1" dirty="0">
                  <a:solidFill>
                    <a:schemeClr val="accent6"/>
                  </a:solidFill>
                </a:rPr>
                <a:t>Gelbfieber, Hepatitis)</a:t>
              </a:r>
            </a:p>
          </p:txBody>
        </p:sp>
        <p:sp>
          <p:nvSpPr>
            <p:cNvPr id="15" name="Textplatzhalter 15">
              <a:extLst>
                <a:ext uri="{FF2B5EF4-FFF2-40B4-BE49-F238E27FC236}">
                  <a16:creationId xmlns:a16="http://schemas.microsoft.com/office/drawing/2014/main" id="{3C48DC27-6BA5-FE57-6121-B555E2C0C65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19576" y="2077949"/>
              <a:ext cx="3402915" cy="5078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100 % der Kosten für die kieferorthopädische Behandlung im Fall eines Unfalls oder einer schweren Krankheit</a:t>
              </a:r>
            </a:p>
          </p:txBody>
        </p:sp>
        <p:sp>
          <p:nvSpPr>
            <p:cNvPr id="16" name="Textplatzhalter 15">
              <a:extLst>
                <a:ext uri="{FF2B5EF4-FFF2-40B4-BE49-F238E27FC236}">
                  <a16:creationId xmlns:a16="http://schemas.microsoft.com/office/drawing/2014/main" id="{1A1C665C-D86F-DB66-F727-2F354BE298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60506" y="1663858"/>
              <a:ext cx="3005484" cy="3385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100" b="1" dirty="0">
                  <a:solidFill>
                    <a:schemeClr val="accent6"/>
                  </a:solidFill>
                </a:rPr>
                <a:t>100 % der Kosten für umfangreiche Vorsorgeuntersuchungen</a:t>
              </a:r>
            </a:p>
          </p:txBody>
        </p:sp>
        <p:sp>
          <p:nvSpPr>
            <p:cNvPr id="17" name="Textplatzhalter 15">
              <a:extLst>
                <a:ext uri="{FF2B5EF4-FFF2-40B4-BE49-F238E27FC236}">
                  <a16:creationId xmlns:a16="http://schemas.microsoft.com/office/drawing/2014/main" id="{C158CE27-A968-2D8E-4F7B-DB86F48E57A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772203" y="1663858"/>
              <a:ext cx="3329437" cy="3385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Tx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100" b="1" dirty="0">
                  <a:solidFill>
                    <a:schemeClr val="accent6"/>
                  </a:solidFill>
                </a:rPr>
                <a:t>15,– EUR Tagegeld im Krankenhaus pro Tag für maximal 28 Tage im Jahr, auch für die Reha</a:t>
              </a:r>
            </a:p>
          </p:txBody>
        </p:sp>
      </p:grpSp>
      <p:grpSp>
        <p:nvGrpSpPr>
          <p:cNvPr id="18" name="Grafik 51">
            <a:extLst>
              <a:ext uri="{FF2B5EF4-FFF2-40B4-BE49-F238E27FC236}">
                <a16:creationId xmlns:a16="http://schemas.microsoft.com/office/drawing/2014/main" id="{88A0093E-C29C-5DC3-E0A0-7F02AB813EE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14348" y="3208141"/>
            <a:ext cx="396000" cy="396000"/>
            <a:chOff x="3367087" y="700087"/>
            <a:chExt cx="5457825" cy="5457825"/>
          </a:xfrm>
          <a:solidFill>
            <a:schemeClr val="bg1"/>
          </a:solidFill>
        </p:grpSpPr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A326CE29-F968-BBE3-8442-BBD4314D9580}"/>
                </a:ext>
              </a:extLst>
            </p:cNvPr>
            <p:cNvSpPr/>
            <p:nvPr/>
          </p:nvSpPr>
          <p:spPr bwMode="gray">
            <a:xfrm>
              <a:off x="5702522" y="700087"/>
              <a:ext cx="3114675" cy="3114675"/>
            </a:xfrm>
            <a:custGeom>
              <a:avLst/>
              <a:gdLst>
                <a:gd name="connsiteX0" fmla="*/ 2027206 w 3114675"/>
                <a:gd name="connsiteY0" fmla="*/ 1091565 h 3114675"/>
                <a:gd name="connsiteX1" fmla="*/ 2027206 w 3114675"/>
                <a:gd name="connsiteY1" fmla="*/ 0 h 3114675"/>
                <a:gd name="connsiteX2" fmla="*/ 1091565 w 3114675"/>
                <a:gd name="connsiteY2" fmla="*/ 0 h 3114675"/>
                <a:gd name="connsiteX3" fmla="*/ 1091565 w 3114675"/>
                <a:gd name="connsiteY3" fmla="*/ 1091565 h 3114675"/>
                <a:gd name="connsiteX4" fmla="*/ 0 w 3114675"/>
                <a:gd name="connsiteY4" fmla="*/ 1091565 h 3114675"/>
                <a:gd name="connsiteX5" fmla="*/ 0 w 3114675"/>
                <a:gd name="connsiteY5" fmla="*/ 2027206 h 3114675"/>
                <a:gd name="connsiteX6" fmla="*/ 1078897 w 3114675"/>
                <a:gd name="connsiteY6" fmla="*/ 2027206 h 3114675"/>
                <a:gd name="connsiteX7" fmla="*/ 1078897 w 3114675"/>
                <a:gd name="connsiteY7" fmla="*/ 3118771 h 3114675"/>
                <a:gd name="connsiteX8" fmla="*/ 2027206 w 3114675"/>
                <a:gd name="connsiteY8" fmla="*/ 3118771 h 3114675"/>
                <a:gd name="connsiteX9" fmla="*/ 2027206 w 3114675"/>
                <a:gd name="connsiteY9" fmla="*/ 2027206 h 3114675"/>
                <a:gd name="connsiteX10" fmla="*/ 3118771 w 3114675"/>
                <a:gd name="connsiteY10" fmla="*/ 2027206 h 3114675"/>
                <a:gd name="connsiteX11" fmla="*/ 3118771 w 3114675"/>
                <a:gd name="connsiteY11" fmla="*/ 109156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14675" h="3114675">
                  <a:moveTo>
                    <a:pt x="2027206" y="1091565"/>
                  </a:moveTo>
                  <a:lnTo>
                    <a:pt x="2027206" y="0"/>
                  </a:lnTo>
                  <a:lnTo>
                    <a:pt x="1091565" y="0"/>
                  </a:lnTo>
                  <a:lnTo>
                    <a:pt x="1091565" y="1091565"/>
                  </a:lnTo>
                  <a:lnTo>
                    <a:pt x="0" y="1091565"/>
                  </a:lnTo>
                  <a:lnTo>
                    <a:pt x="0" y="2027206"/>
                  </a:lnTo>
                  <a:lnTo>
                    <a:pt x="1078897" y="2027206"/>
                  </a:lnTo>
                  <a:lnTo>
                    <a:pt x="1078897" y="3118771"/>
                  </a:lnTo>
                  <a:lnTo>
                    <a:pt x="2027206" y="3118771"/>
                  </a:lnTo>
                  <a:lnTo>
                    <a:pt x="2027206" y="2027206"/>
                  </a:lnTo>
                  <a:lnTo>
                    <a:pt x="3118771" y="2027206"/>
                  </a:lnTo>
                  <a:lnTo>
                    <a:pt x="3118771" y="10915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8835DF8-C866-21FE-E663-5F621400846E}"/>
                </a:ext>
              </a:extLst>
            </p:cNvPr>
            <p:cNvSpPr/>
            <p:nvPr/>
          </p:nvSpPr>
          <p:spPr bwMode="gray">
            <a:xfrm>
              <a:off x="3367050" y="1883502"/>
              <a:ext cx="4000500" cy="4267200"/>
            </a:xfrm>
            <a:custGeom>
              <a:avLst/>
              <a:gdLst>
                <a:gd name="connsiteX0" fmla="*/ 3418751 w 4000500"/>
                <a:gd name="connsiteY0" fmla="*/ 3207610 h 4267200"/>
                <a:gd name="connsiteX1" fmla="*/ 3118237 w 4000500"/>
                <a:gd name="connsiteY1" fmla="*/ 3824830 h 4267200"/>
                <a:gd name="connsiteX2" fmla="*/ 2969456 w 4000500"/>
                <a:gd name="connsiteY2" fmla="*/ 3963037 h 4267200"/>
                <a:gd name="connsiteX3" fmla="*/ 2968980 w 4000500"/>
                <a:gd name="connsiteY3" fmla="*/ 3963037 h 4267200"/>
                <a:gd name="connsiteX4" fmla="*/ 2950882 w 4000500"/>
                <a:gd name="connsiteY4" fmla="*/ 3961608 h 4267200"/>
                <a:gd name="connsiteX5" fmla="*/ 2885351 w 4000500"/>
                <a:gd name="connsiteY5" fmla="*/ 3773680 h 4267200"/>
                <a:gd name="connsiteX6" fmla="*/ 2871920 w 4000500"/>
                <a:gd name="connsiteY6" fmla="*/ 3621471 h 4267200"/>
                <a:gd name="connsiteX7" fmla="*/ 2074773 w 4000500"/>
                <a:gd name="connsiteY7" fmla="*/ 2476852 h 4267200"/>
                <a:gd name="connsiteX8" fmla="*/ 1277626 w 4000500"/>
                <a:gd name="connsiteY8" fmla="*/ 3621471 h 4267200"/>
                <a:gd name="connsiteX9" fmla="*/ 1264195 w 4000500"/>
                <a:gd name="connsiteY9" fmla="*/ 3773680 h 4267200"/>
                <a:gd name="connsiteX10" fmla="*/ 1198568 w 4000500"/>
                <a:gd name="connsiteY10" fmla="*/ 3961608 h 4267200"/>
                <a:gd name="connsiteX11" fmla="*/ 1179899 w 4000500"/>
                <a:gd name="connsiteY11" fmla="*/ 3963037 h 4267200"/>
                <a:gd name="connsiteX12" fmla="*/ 1031404 w 4000500"/>
                <a:gd name="connsiteY12" fmla="*/ 3824830 h 4267200"/>
                <a:gd name="connsiteX13" fmla="*/ 732986 w 4000500"/>
                <a:gd name="connsiteY13" fmla="*/ 3213229 h 4267200"/>
                <a:gd name="connsiteX14" fmla="*/ 341699 w 4000500"/>
                <a:gd name="connsiteY14" fmla="*/ 823216 h 4267200"/>
                <a:gd name="connsiteX15" fmla="*/ 604018 w 4000500"/>
                <a:gd name="connsiteY15" fmla="*/ 366302 h 4267200"/>
                <a:gd name="connsiteX16" fmla="*/ 971111 w 4000500"/>
                <a:gd name="connsiteY16" fmla="*/ 335441 h 4267200"/>
                <a:gd name="connsiteX17" fmla="*/ 2022576 w 4000500"/>
                <a:gd name="connsiteY17" fmla="*/ 844552 h 4267200"/>
                <a:gd name="connsiteX18" fmla="*/ 2022576 w 4000500"/>
                <a:gd name="connsiteY18" fmla="*/ 477364 h 4267200"/>
                <a:gd name="connsiteX19" fmla="*/ 1043787 w 4000500"/>
                <a:gd name="connsiteY19" fmla="*/ 32165 h 4267200"/>
                <a:gd name="connsiteX20" fmla="*/ 442855 w 4000500"/>
                <a:gd name="connsiteY20" fmla="*/ 99507 h 4267200"/>
                <a:gd name="connsiteX21" fmla="*/ 37280 w 4000500"/>
                <a:gd name="connsiteY21" fmla="*/ 756637 h 4267200"/>
                <a:gd name="connsiteX22" fmla="*/ 440569 w 4000500"/>
                <a:gd name="connsiteY22" fmla="*/ 3320576 h 4267200"/>
                <a:gd name="connsiteX23" fmla="*/ 768705 w 4000500"/>
                <a:gd name="connsiteY23" fmla="*/ 3992375 h 4267200"/>
                <a:gd name="connsiteX24" fmla="*/ 1240097 w 4000500"/>
                <a:gd name="connsiteY24" fmla="*/ 4268695 h 4267200"/>
                <a:gd name="connsiteX25" fmla="*/ 1574139 w 4000500"/>
                <a:gd name="connsiteY25" fmla="*/ 3811495 h 4267200"/>
                <a:gd name="connsiteX26" fmla="*/ 1588998 w 4000500"/>
                <a:gd name="connsiteY26" fmla="*/ 3644521 h 4267200"/>
                <a:gd name="connsiteX27" fmla="*/ 2075249 w 4000500"/>
                <a:gd name="connsiteY27" fmla="*/ 2788700 h 4267200"/>
                <a:gd name="connsiteX28" fmla="*/ 2561501 w 4000500"/>
                <a:gd name="connsiteY28" fmla="*/ 3644521 h 4267200"/>
                <a:gd name="connsiteX29" fmla="*/ 2576360 w 4000500"/>
                <a:gd name="connsiteY29" fmla="*/ 3811495 h 4267200"/>
                <a:gd name="connsiteX30" fmla="*/ 2910020 w 4000500"/>
                <a:gd name="connsiteY30" fmla="*/ 4268504 h 4267200"/>
                <a:gd name="connsiteX31" fmla="*/ 2970028 w 4000500"/>
                <a:gd name="connsiteY31" fmla="*/ 4274410 h 4267200"/>
                <a:gd name="connsiteX32" fmla="*/ 3381889 w 4000500"/>
                <a:gd name="connsiteY32" fmla="*/ 3992184 h 4267200"/>
                <a:gd name="connsiteX33" fmla="*/ 3712025 w 4000500"/>
                <a:gd name="connsiteY33" fmla="*/ 3314956 h 4267200"/>
                <a:gd name="connsiteX34" fmla="*/ 4008157 w 4000500"/>
                <a:gd name="connsiteY34" fmla="*/ 2247585 h 4267200"/>
                <a:gd name="connsiteX35" fmla="*/ 3688118 w 4000500"/>
                <a:gd name="connsiteY35" fmla="*/ 2247585 h 4267200"/>
                <a:gd name="connsiteX36" fmla="*/ 3418751 w 4000500"/>
                <a:gd name="connsiteY36" fmla="*/ 320761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000500" h="4267200">
                  <a:moveTo>
                    <a:pt x="3418751" y="3207610"/>
                  </a:moveTo>
                  <a:cubicBezTo>
                    <a:pt x="3417322" y="3211325"/>
                    <a:pt x="3272351" y="3582800"/>
                    <a:pt x="3118237" y="3824830"/>
                  </a:cubicBezTo>
                  <a:cubicBezTo>
                    <a:pt x="3045847" y="3938463"/>
                    <a:pt x="2986982" y="3963037"/>
                    <a:pt x="2969456" y="3963037"/>
                  </a:cubicBezTo>
                  <a:cubicBezTo>
                    <a:pt x="2969266" y="3963037"/>
                    <a:pt x="2969170" y="3963037"/>
                    <a:pt x="2968980" y="3963037"/>
                  </a:cubicBezTo>
                  <a:cubicBezTo>
                    <a:pt x="2969170" y="3963037"/>
                    <a:pt x="2950311" y="3961132"/>
                    <a:pt x="2950882" y="3961608"/>
                  </a:cubicBezTo>
                  <a:cubicBezTo>
                    <a:pt x="2939071" y="3955036"/>
                    <a:pt x="2901638" y="3906745"/>
                    <a:pt x="2885351" y="3773680"/>
                  </a:cubicBezTo>
                  <a:cubicBezTo>
                    <a:pt x="2880016" y="3730532"/>
                    <a:pt x="2876302" y="3678716"/>
                    <a:pt x="2871920" y="3621471"/>
                  </a:cubicBezTo>
                  <a:cubicBezTo>
                    <a:pt x="2844298" y="3249996"/>
                    <a:pt x="2786576" y="2476852"/>
                    <a:pt x="2074773" y="2476852"/>
                  </a:cubicBezTo>
                  <a:cubicBezTo>
                    <a:pt x="1362970" y="2476852"/>
                    <a:pt x="1305248" y="3249996"/>
                    <a:pt x="1277626" y="3621471"/>
                  </a:cubicBezTo>
                  <a:cubicBezTo>
                    <a:pt x="1273244" y="3678716"/>
                    <a:pt x="1269529" y="3730437"/>
                    <a:pt x="1264195" y="3773680"/>
                  </a:cubicBezTo>
                  <a:cubicBezTo>
                    <a:pt x="1248003" y="3906650"/>
                    <a:pt x="1210379" y="3955036"/>
                    <a:pt x="1198568" y="3961608"/>
                  </a:cubicBezTo>
                  <a:cubicBezTo>
                    <a:pt x="1199235" y="3960942"/>
                    <a:pt x="1179042" y="3963037"/>
                    <a:pt x="1179899" y="3963037"/>
                  </a:cubicBezTo>
                  <a:cubicBezTo>
                    <a:pt x="1162468" y="3963037"/>
                    <a:pt x="1103604" y="3938558"/>
                    <a:pt x="1031404" y="3824830"/>
                  </a:cubicBezTo>
                  <a:cubicBezTo>
                    <a:pt x="878147" y="3584038"/>
                    <a:pt x="733081" y="3213229"/>
                    <a:pt x="732986" y="3213229"/>
                  </a:cubicBezTo>
                  <a:cubicBezTo>
                    <a:pt x="727366" y="3197037"/>
                    <a:pt x="175488" y="1582740"/>
                    <a:pt x="341699" y="823216"/>
                  </a:cubicBezTo>
                  <a:cubicBezTo>
                    <a:pt x="391610" y="595093"/>
                    <a:pt x="479812" y="441359"/>
                    <a:pt x="604018" y="366302"/>
                  </a:cubicBezTo>
                  <a:cubicBezTo>
                    <a:pt x="701935" y="307247"/>
                    <a:pt x="825283" y="295531"/>
                    <a:pt x="971111" y="335441"/>
                  </a:cubicBezTo>
                  <a:cubicBezTo>
                    <a:pt x="1115320" y="371636"/>
                    <a:pt x="1686724" y="618334"/>
                    <a:pt x="2022576" y="844552"/>
                  </a:cubicBezTo>
                  <a:lnTo>
                    <a:pt x="2022576" y="477364"/>
                  </a:lnTo>
                  <a:cubicBezTo>
                    <a:pt x="1665198" y="269147"/>
                    <a:pt x="1203140" y="72265"/>
                    <a:pt x="1043787" y="32165"/>
                  </a:cubicBezTo>
                  <a:cubicBezTo>
                    <a:pt x="826998" y="-27557"/>
                    <a:pt x="613733" y="-3554"/>
                    <a:pt x="442855" y="99507"/>
                  </a:cubicBezTo>
                  <a:cubicBezTo>
                    <a:pt x="242639" y="220474"/>
                    <a:pt x="106051" y="441645"/>
                    <a:pt x="37280" y="756637"/>
                  </a:cubicBezTo>
                  <a:cubicBezTo>
                    <a:pt x="-147695" y="1601504"/>
                    <a:pt x="414470" y="3245519"/>
                    <a:pt x="440569" y="3320576"/>
                  </a:cubicBezTo>
                  <a:cubicBezTo>
                    <a:pt x="446950" y="3336959"/>
                    <a:pt x="598207" y="3724627"/>
                    <a:pt x="768705" y="3992375"/>
                  </a:cubicBezTo>
                  <a:cubicBezTo>
                    <a:pt x="959681" y="4292698"/>
                    <a:pt x="1167136" y="4283173"/>
                    <a:pt x="1240097" y="4268695"/>
                  </a:cubicBezTo>
                  <a:cubicBezTo>
                    <a:pt x="1325536" y="4258599"/>
                    <a:pt x="1527371" y="4193543"/>
                    <a:pt x="1574139" y="3811495"/>
                  </a:cubicBezTo>
                  <a:cubicBezTo>
                    <a:pt x="1579949" y="3764060"/>
                    <a:pt x="1584235" y="3707291"/>
                    <a:pt x="1588998" y="3644521"/>
                  </a:cubicBezTo>
                  <a:cubicBezTo>
                    <a:pt x="1630432" y="3089404"/>
                    <a:pt x="1720157" y="2788700"/>
                    <a:pt x="2075249" y="2788700"/>
                  </a:cubicBezTo>
                  <a:cubicBezTo>
                    <a:pt x="2430151" y="2788700"/>
                    <a:pt x="2519971" y="3089500"/>
                    <a:pt x="2561501" y="3644521"/>
                  </a:cubicBezTo>
                  <a:cubicBezTo>
                    <a:pt x="2566168" y="3707196"/>
                    <a:pt x="2570549" y="3764155"/>
                    <a:pt x="2576360" y="3811495"/>
                  </a:cubicBezTo>
                  <a:cubicBezTo>
                    <a:pt x="2623127" y="4193352"/>
                    <a:pt x="2824581" y="4258408"/>
                    <a:pt x="2910020" y="4268504"/>
                  </a:cubicBezTo>
                  <a:cubicBezTo>
                    <a:pt x="2924879" y="4271648"/>
                    <a:pt x="2945453" y="4274410"/>
                    <a:pt x="2970028" y="4274410"/>
                  </a:cubicBezTo>
                  <a:cubicBezTo>
                    <a:pt x="3066897" y="4274410"/>
                    <a:pt x="3229489" y="4231643"/>
                    <a:pt x="3381889" y="3992184"/>
                  </a:cubicBezTo>
                  <a:cubicBezTo>
                    <a:pt x="3552196" y="3724627"/>
                    <a:pt x="3703548" y="3336959"/>
                    <a:pt x="3712025" y="3314956"/>
                  </a:cubicBezTo>
                  <a:cubicBezTo>
                    <a:pt x="3719360" y="3293716"/>
                    <a:pt x="3882332" y="2818609"/>
                    <a:pt x="4008157" y="2247585"/>
                  </a:cubicBezTo>
                  <a:lnTo>
                    <a:pt x="3688118" y="2247585"/>
                  </a:lnTo>
                  <a:cubicBezTo>
                    <a:pt x="3567817" y="2772031"/>
                    <a:pt x="3418655" y="3207610"/>
                    <a:pt x="3418751" y="32076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grpSp>
        <p:nvGrpSpPr>
          <p:cNvPr id="21" name="Grafik 62">
            <a:extLst>
              <a:ext uri="{FF2B5EF4-FFF2-40B4-BE49-F238E27FC236}">
                <a16:creationId xmlns:a16="http://schemas.microsoft.com/office/drawing/2014/main" id="{5703A42F-B5BC-A6B1-A265-1D2109ED732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23463" y="3862884"/>
            <a:ext cx="360000" cy="358827"/>
            <a:chOff x="3171825" y="514350"/>
            <a:chExt cx="5848350" cy="5829300"/>
          </a:xfrm>
          <a:solidFill>
            <a:schemeClr val="bg1"/>
          </a:solidFill>
        </p:grpSpPr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8CBF42F-5400-57B5-C4C9-2FE04B405FD3}"/>
                </a:ext>
              </a:extLst>
            </p:cNvPr>
            <p:cNvSpPr/>
            <p:nvPr/>
          </p:nvSpPr>
          <p:spPr bwMode="gray">
            <a:xfrm>
              <a:off x="4356766" y="2696962"/>
              <a:ext cx="3533775" cy="3648075"/>
            </a:xfrm>
            <a:custGeom>
              <a:avLst/>
              <a:gdLst>
                <a:gd name="connsiteX0" fmla="*/ 1765618 w 3533775"/>
                <a:gd name="connsiteY0" fmla="*/ 2279565 h 3648075"/>
                <a:gd name="connsiteX1" fmla="*/ 2370456 w 3533775"/>
                <a:gd name="connsiteY1" fmla="*/ 3349223 h 3648075"/>
                <a:gd name="connsiteX2" fmla="*/ 2559337 w 3533775"/>
                <a:gd name="connsiteY2" fmla="*/ 3646308 h 3648075"/>
                <a:gd name="connsiteX3" fmla="*/ 2849087 w 3533775"/>
                <a:gd name="connsiteY3" fmla="*/ 3456093 h 3648075"/>
                <a:gd name="connsiteX4" fmla="*/ 3139028 w 3533775"/>
                <a:gd name="connsiteY4" fmla="*/ 2861828 h 3648075"/>
                <a:gd name="connsiteX5" fmla="*/ 3504312 w 3533775"/>
                <a:gd name="connsiteY5" fmla="*/ 580115 h 3648075"/>
                <a:gd name="connsiteX6" fmla="*/ 2748313 w 3533775"/>
                <a:gd name="connsiteY6" fmla="*/ 21569 h 3648075"/>
                <a:gd name="connsiteX7" fmla="*/ 2005077 w 3533775"/>
                <a:gd name="connsiteY7" fmla="*/ 332846 h 3648075"/>
                <a:gd name="connsiteX8" fmla="*/ 1765999 w 3533775"/>
                <a:gd name="connsiteY8" fmla="*/ 407236 h 3648075"/>
                <a:gd name="connsiteX9" fmla="*/ 1770000 w 3533775"/>
                <a:gd name="connsiteY9" fmla="*/ 407236 h 3648075"/>
                <a:gd name="connsiteX10" fmla="*/ 1530732 w 3533775"/>
                <a:gd name="connsiteY10" fmla="*/ 332846 h 3648075"/>
                <a:gd name="connsiteX11" fmla="*/ 787496 w 3533775"/>
                <a:gd name="connsiteY11" fmla="*/ 21569 h 3648075"/>
                <a:gd name="connsiteX12" fmla="*/ 31497 w 3533775"/>
                <a:gd name="connsiteY12" fmla="*/ 580115 h 3648075"/>
                <a:gd name="connsiteX13" fmla="*/ 396876 w 3533775"/>
                <a:gd name="connsiteY13" fmla="*/ 2861828 h 3648075"/>
                <a:gd name="connsiteX14" fmla="*/ 686626 w 3533775"/>
                <a:gd name="connsiteY14" fmla="*/ 3456093 h 3648075"/>
                <a:gd name="connsiteX15" fmla="*/ 976377 w 3533775"/>
                <a:gd name="connsiteY15" fmla="*/ 3646308 h 3648075"/>
                <a:gd name="connsiteX16" fmla="*/ 1165448 w 3533775"/>
                <a:gd name="connsiteY16" fmla="*/ 3349223 h 3648075"/>
                <a:gd name="connsiteX17" fmla="*/ 1770095 w 3533775"/>
                <a:gd name="connsiteY17" fmla="*/ 2279565 h 3648075"/>
                <a:gd name="connsiteX18" fmla="*/ 1765618 w 3533775"/>
                <a:gd name="connsiteY18" fmla="*/ 2279565 h 364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3775" h="3648075">
                  <a:moveTo>
                    <a:pt x="1765618" y="2279565"/>
                  </a:moveTo>
                  <a:cubicBezTo>
                    <a:pt x="2370456" y="2279565"/>
                    <a:pt x="2332546" y="3040137"/>
                    <a:pt x="2370456" y="3349223"/>
                  </a:cubicBezTo>
                  <a:cubicBezTo>
                    <a:pt x="2408175" y="3658119"/>
                    <a:pt x="2559337" y="3646308"/>
                    <a:pt x="2559337" y="3646308"/>
                  </a:cubicBezTo>
                  <a:cubicBezTo>
                    <a:pt x="2559337" y="3646308"/>
                    <a:pt x="2697925" y="3693742"/>
                    <a:pt x="2849087" y="3456093"/>
                  </a:cubicBezTo>
                  <a:cubicBezTo>
                    <a:pt x="3000249" y="3218350"/>
                    <a:pt x="3139028" y="2861828"/>
                    <a:pt x="3139028" y="2861828"/>
                  </a:cubicBezTo>
                  <a:cubicBezTo>
                    <a:pt x="3139028" y="2861828"/>
                    <a:pt x="3668046" y="1328875"/>
                    <a:pt x="3504312" y="580115"/>
                  </a:cubicBezTo>
                  <a:cubicBezTo>
                    <a:pt x="3340768" y="-168550"/>
                    <a:pt x="2748313" y="21569"/>
                    <a:pt x="2748313" y="21569"/>
                  </a:cubicBezTo>
                  <a:cubicBezTo>
                    <a:pt x="2748313" y="21569"/>
                    <a:pt x="2315973" y="118914"/>
                    <a:pt x="2005077" y="332846"/>
                  </a:cubicBezTo>
                  <a:cubicBezTo>
                    <a:pt x="1955070" y="367326"/>
                    <a:pt x="1871822" y="407236"/>
                    <a:pt x="1765999" y="407236"/>
                  </a:cubicBezTo>
                  <a:lnTo>
                    <a:pt x="1770000" y="407236"/>
                  </a:lnTo>
                  <a:cubicBezTo>
                    <a:pt x="1664463" y="407236"/>
                    <a:pt x="1580928" y="367326"/>
                    <a:pt x="1530732" y="332846"/>
                  </a:cubicBezTo>
                  <a:cubicBezTo>
                    <a:pt x="1219836" y="118914"/>
                    <a:pt x="787496" y="21569"/>
                    <a:pt x="787496" y="21569"/>
                  </a:cubicBezTo>
                  <a:cubicBezTo>
                    <a:pt x="787496" y="21569"/>
                    <a:pt x="195422" y="-168455"/>
                    <a:pt x="31497" y="580115"/>
                  </a:cubicBezTo>
                  <a:cubicBezTo>
                    <a:pt x="-132429" y="1328685"/>
                    <a:pt x="396876" y="2861828"/>
                    <a:pt x="396876" y="2861828"/>
                  </a:cubicBezTo>
                  <a:cubicBezTo>
                    <a:pt x="396876" y="2861828"/>
                    <a:pt x="535464" y="3218350"/>
                    <a:pt x="686626" y="3456093"/>
                  </a:cubicBezTo>
                  <a:cubicBezTo>
                    <a:pt x="837788" y="3693647"/>
                    <a:pt x="976377" y="3646308"/>
                    <a:pt x="976377" y="3646308"/>
                  </a:cubicBezTo>
                  <a:cubicBezTo>
                    <a:pt x="976377" y="3646308"/>
                    <a:pt x="1127538" y="3658119"/>
                    <a:pt x="1165448" y="3349223"/>
                  </a:cubicBezTo>
                  <a:cubicBezTo>
                    <a:pt x="1203167" y="3040137"/>
                    <a:pt x="1165448" y="2279565"/>
                    <a:pt x="1770095" y="2279565"/>
                  </a:cubicBezTo>
                  <a:cubicBezTo>
                    <a:pt x="1770190" y="2279565"/>
                    <a:pt x="1765618" y="2279565"/>
                    <a:pt x="1765618" y="22795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5627268-6102-EE19-921C-F30543D94B51}"/>
                </a:ext>
              </a:extLst>
            </p:cNvPr>
            <p:cNvSpPr/>
            <p:nvPr/>
          </p:nvSpPr>
          <p:spPr bwMode="gray">
            <a:xfrm>
              <a:off x="3171825" y="514350"/>
              <a:ext cx="5838825" cy="2905125"/>
            </a:xfrm>
            <a:custGeom>
              <a:avLst/>
              <a:gdLst>
                <a:gd name="connsiteX0" fmla="*/ 5847969 w 5838825"/>
                <a:gd name="connsiteY0" fmla="*/ 2913507 h 2905125"/>
                <a:gd name="connsiteX1" fmla="*/ 5483257 w 5838825"/>
                <a:gd name="connsiteY1" fmla="*/ 2913507 h 2905125"/>
                <a:gd name="connsiteX2" fmla="*/ 2924080 w 5838825"/>
                <a:gd name="connsiteY2" fmla="*/ 363379 h 2905125"/>
                <a:gd name="connsiteX3" fmla="*/ 364712 w 5838825"/>
                <a:gd name="connsiteY3" fmla="*/ 2913507 h 2905125"/>
                <a:gd name="connsiteX4" fmla="*/ 0 w 5838825"/>
                <a:gd name="connsiteY4" fmla="*/ 2913507 h 2905125"/>
                <a:gd name="connsiteX5" fmla="*/ 2923889 w 5838825"/>
                <a:gd name="connsiteY5" fmla="*/ 0 h 2905125"/>
                <a:gd name="connsiteX6" fmla="*/ 5847969 w 5838825"/>
                <a:gd name="connsiteY6" fmla="*/ 2913507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8825" h="2905125">
                  <a:moveTo>
                    <a:pt x="5847969" y="2913507"/>
                  </a:moveTo>
                  <a:lnTo>
                    <a:pt x="5483257" y="2913507"/>
                  </a:lnTo>
                  <a:cubicBezTo>
                    <a:pt x="5483257" y="1507427"/>
                    <a:pt x="4335209" y="363379"/>
                    <a:pt x="2924080" y="363379"/>
                  </a:cubicBezTo>
                  <a:cubicBezTo>
                    <a:pt x="1512951" y="363379"/>
                    <a:pt x="364712" y="1507617"/>
                    <a:pt x="364712" y="2913507"/>
                  </a:cubicBezTo>
                  <a:lnTo>
                    <a:pt x="0" y="2913507"/>
                  </a:lnTo>
                  <a:cubicBezTo>
                    <a:pt x="0" y="1307021"/>
                    <a:pt x="1311593" y="0"/>
                    <a:pt x="2923889" y="0"/>
                  </a:cubicBezTo>
                  <a:cubicBezTo>
                    <a:pt x="4536186" y="0"/>
                    <a:pt x="5847969" y="1307021"/>
                    <a:pt x="5847969" y="29135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grpSp>
        <p:nvGrpSpPr>
          <p:cNvPr id="24" name="Group 4">
            <a:extLst>
              <a:ext uri="{FF2B5EF4-FFF2-40B4-BE49-F238E27FC236}">
                <a16:creationId xmlns:a16="http://schemas.microsoft.com/office/drawing/2014/main" id="{F96DFE09-4484-6573-B81C-9EECF2467EF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277889" y="4798005"/>
            <a:ext cx="429817" cy="414850"/>
            <a:chOff x="1613" y="-2"/>
            <a:chExt cx="4480" cy="4324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541AE7F7-DBB3-23AE-03E0-BB01844CA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" y="1024"/>
              <a:ext cx="1583" cy="1262"/>
            </a:xfrm>
            <a:custGeom>
              <a:avLst/>
              <a:gdLst>
                <a:gd name="T0" fmla="*/ 805 w 805"/>
                <a:gd name="T1" fmla="*/ 490 h 643"/>
                <a:gd name="T2" fmla="*/ 498 w 805"/>
                <a:gd name="T3" fmla="*/ 93 h 643"/>
                <a:gd name="T4" fmla="*/ 0 w 805"/>
                <a:gd name="T5" fmla="*/ 152 h 643"/>
                <a:gd name="T6" fmla="*/ 307 w 805"/>
                <a:gd name="T7" fmla="*/ 549 h 643"/>
                <a:gd name="T8" fmla="*/ 805 w 805"/>
                <a:gd name="T9" fmla="*/ 490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5" h="643">
                  <a:moveTo>
                    <a:pt x="805" y="490"/>
                  </a:moveTo>
                  <a:cubicBezTo>
                    <a:pt x="805" y="490"/>
                    <a:pt x="721" y="186"/>
                    <a:pt x="498" y="93"/>
                  </a:cubicBezTo>
                  <a:cubicBezTo>
                    <a:pt x="276" y="0"/>
                    <a:pt x="0" y="152"/>
                    <a:pt x="0" y="152"/>
                  </a:cubicBezTo>
                  <a:cubicBezTo>
                    <a:pt x="0" y="152"/>
                    <a:pt x="84" y="456"/>
                    <a:pt x="307" y="549"/>
                  </a:cubicBezTo>
                  <a:cubicBezTo>
                    <a:pt x="529" y="643"/>
                    <a:pt x="805" y="490"/>
                    <a:pt x="805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26" name="Oval 6">
              <a:extLst>
                <a:ext uri="{FF2B5EF4-FFF2-40B4-BE49-F238E27FC236}">
                  <a16:creationId xmlns:a16="http://schemas.microsoft.com/office/drawing/2014/main" id="{8A5D4773-FFB5-A3B3-53CC-9E4E978147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01" y="-2"/>
              <a:ext cx="881" cy="15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F6E361F-F4C8-821A-2057-6EFAF02CE6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9" y="1024"/>
              <a:ext cx="1585" cy="1262"/>
            </a:xfrm>
            <a:custGeom>
              <a:avLst/>
              <a:gdLst>
                <a:gd name="T0" fmla="*/ 499 w 806"/>
                <a:gd name="T1" fmla="*/ 549 h 643"/>
                <a:gd name="T2" fmla="*/ 806 w 806"/>
                <a:gd name="T3" fmla="*/ 152 h 643"/>
                <a:gd name="T4" fmla="*/ 307 w 806"/>
                <a:gd name="T5" fmla="*/ 93 h 643"/>
                <a:gd name="T6" fmla="*/ 0 w 806"/>
                <a:gd name="T7" fmla="*/ 490 h 643"/>
                <a:gd name="T8" fmla="*/ 499 w 806"/>
                <a:gd name="T9" fmla="*/ 549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6" h="643">
                  <a:moveTo>
                    <a:pt x="499" y="549"/>
                  </a:moveTo>
                  <a:cubicBezTo>
                    <a:pt x="721" y="456"/>
                    <a:pt x="806" y="152"/>
                    <a:pt x="806" y="152"/>
                  </a:cubicBezTo>
                  <a:cubicBezTo>
                    <a:pt x="806" y="152"/>
                    <a:pt x="530" y="0"/>
                    <a:pt x="307" y="93"/>
                  </a:cubicBezTo>
                  <a:cubicBezTo>
                    <a:pt x="85" y="186"/>
                    <a:pt x="0" y="490"/>
                    <a:pt x="0" y="490"/>
                  </a:cubicBezTo>
                  <a:cubicBezTo>
                    <a:pt x="0" y="490"/>
                    <a:pt x="276" y="643"/>
                    <a:pt x="499" y="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28" name="Rectangle 8">
              <a:extLst>
                <a:ext uri="{FF2B5EF4-FFF2-40B4-BE49-F238E27FC236}">
                  <a16:creationId xmlns:a16="http://schemas.microsoft.com/office/drawing/2014/main" id="{A6953B3B-1846-EF68-11E2-224F56AFC1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13" y="2843"/>
              <a:ext cx="743" cy="123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A20778BA-FE04-DF84-9873-57E4D786704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6" y="2619"/>
              <a:ext cx="2045" cy="1105"/>
            </a:xfrm>
            <a:custGeom>
              <a:avLst/>
              <a:gdLst>
                <a:gd name="T0" fmla="*/ 783 w 1040"/>
                <a:gd name="T1" fmla="*/ 372 h 563"/>
                <a:gd name="T2" fmla="*/ 559 w 1040"/>
                <a:gd name="T3" fmla="*/ 224 h 563"/>
                <a:gd name="T4" fmla="*/ 491 w 1040"/>
                <a:gd name="T5" fmla="*/ 327 h 563"/>
                <a:gd name="T6" fmla="*/ 719 w 1040"/>
                <a:gd name="T7" fmla="*/ 479 h 563"/>
                <a:gd name="T8" fmla="*/ 963 w 1040"/>
                <a:gd name="T9" fmla="*/ 465 h 563"/>
                <a:gd name="T10" fmla="*/ 895 w 1040"/>
                <a:gd name="T11" fmla="*/ 210 h 563"/>
                <a:gd name="T12" fmla="*/ 678 w 1040"/>
                <a:gd name="T13" fmla="*/ 56 h 563"/>
                <a:gd name="T14" fmla="*/ 489 w 1040"/>
                <a:gd name="T15" fmla="*/ 10 h 563"/>
                <a:gd name="T16" fmla="*/ 0 w 1040"/>
                <a:gd name="T17" fmla="*/ 113 h 563"/>
                <a:gd name="T18" fmla="*/ 0 w 1040"/>
                <a:gd name="T19" fmla="*/ 244 h 563"/>
                <a:gd name="T20" fmla="*/ 508 w 1040"/>
                <a:gd name="T21" fmla="*/ 134 h 563"/>
                <a:gd name="T22" fmla="*/ 607 w 1040"/>
                <a:gd name="T23" fmla="*/ 160 h 563"/>
                <a:gd name="T24" fmla="*/ 839 w 1040"/>
                <a:gd name="T25" fmla="*/ 327 h 563"/>
                <a:gd name="T26" fmla="*/ 861 w 1040"/>
                <a:gd name="T27" fmla="*/ 392 h 563"/>
                <a:gd name="T28" fmla="*/ 783 w 1040"/>
                <a:gd name="T29" fmla="*/ 372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0" h="563">
                  <a:moveTo>
                    <a:pt x="783" y="372"/>
                  </a:moveTo>
                  <a:cubicBezTo>
                    <a:pt x="559" y="224"/>
                    <a:pt x="559" y="224"/>
                    <a:pt x="559" y="224"/>
                  </a:cubicBezTo>
                  <a:cubicBezTo>
                    <a:pt x="491" y="327"/>
                    <a:pt x="491" y="327"/>
                    <a:pt x="491" y="327"/>
                  </a:cubicBezTo>
                  <a:cubicBezTo>
                    <a:pt x="491" y="327"/>
                    <a:pt x="660" y="443"/>
                    <a:pt x="719" y="479"/>
                  </a:cubicBezTo>
                  <a:cubicBezTo>
                    <a:pt x="856" y="563"/>
                    <a:pt x="925" y="509"/>
                    <a:pt x="963" y="465"/>
                  </a:cubicBezTo>
                  <a:cubicBezTo>
                    <a:pt x="996" y="425"/>
                    <a:pt x="1040" y="312"/>
                    <a:pt x="895" y="210"/>
                  </a:cubicBezTo>
                  <a:cubicBezTo>
                    <a:pt x="838" y="170"/>
                    <a:pt x="678" y="56"/>
                    <a:pt x="678" y="56"/>
                  </a:cubicBezTo>
                  <a:cubicBezTo>
                    <a:pt x="623" y="17"/>
                    <a:pt x="556" y="0"/>
                    <a:pt x="489" y="1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08" y="134"/>
                    <a:pt x="508" y="134"/>
                    <a:pt x="508" y="134"/>
                  </a:cubicBezTo>
                  <a:cubicBezTo>
                    <a:pt x="545" y="129"/>
                    <a:pt x="576" y="138"/>
                    <a:pt x="607" y="160"/>
                  </a:cubicBezTo>
                  <a:cubicBezTo>
                    <a:pt x="839" y="327"/>
                    <a:pt x="839" y="327"/>
                    <a:pt x="839" y="327"/>
                  </a:cubicBezTo>
                  <a:cubicBezTo>
                    <a:pt x="860" y="342"/>
                    <a:pt x="885" y="368"/>
                    <a:pt x="861" y="392"/>
                  </a:cubicBezTo>
                  <a:cubicBezTo>
                    <a:pt x="840" y="413"/>
                    <a:pt x="805" y="388"/>
                    <a:pt x="783" y="3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78DF6154-CFC8-8980-9104-36769B77E9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4" y="2686"/>
              <a:ext cx="3489" cy="1636"/>
            </a:xfrm>
            <a:custGeom>
              <a:avLst/>
              <a:gdLst>
                <a:gd name="T0" fmla="*/ 1745 w 1774"/>
                <a:gd name="T1" fmla="*/ 102 h 834"/>
                <a:gd name="T2" fmla="*/ 1576 w 1774"/>
                <a:gd name="T3" fmla="*/ 21 h 834"/>
                <a:gd name="T4" fmla="*/ 1071 w 1774"/>
                <a:gd name="T5" fmla="*/ 170 h 834"/>
                <a:gd name="T6" fmla="*/ 1115 w 1774"/>
                <a:gd name="T7" fmla="*/ 289 h 834"/>
                <a:gd name="T8" fmla="*/ 1557 w 1774"/>
                <a:gd name="T9" fmla="*/ 157 h 834"/>
                <a:gd name="T10" fmla="*/ 1636 w 1774"/>
                <a:gd name="T11" fmla="*/ 158 h 834"/>
                <a:gd name="T12" fmla="*/ 1585 w 1774"/>
                <a:gd name="T13" fmla="*/ 228 h 834"/>
                <a:gd name="T14" fmla="*/ 772 w 1774"/>
                <a:gd name="T15" fmla="*/ 707 h 834"/>
                <a:gd name="T16" fmla="*/ 0 w 1774"/>
                <a:gd name="T17" fmla="*/ 579 h 834"/>
                <a:gd name="T18" fmla="*/ 0 w 1774"/>
                <a:gd name="T19" fmla="*/ 709 h 834"/>
                <a:gd name="T20" fmla="*/ 787 w 1774"/>
                <a:gd name="T21" fmla="*/ 834 h 834"/>
                <a:gd name="T22" fmla="*/ 1714 w 1774"/>
                <a:gd name="T23" fmla="*/ 294 h 834"/>
                <a:gd name="T24" fmla="*/ 1745 w 1774"/>
                <a:gd name="T25" fmla="*/ 102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4" h="834">
                  <a:moveTo>
                    <a:pt x="1745" y="102"/>
                  </a:moveTo>
                  <a:cubicBezTo>
                    <a:pt x="1716" y="46"/>
                    <a:pt x="1656" y="0"/>
                    <a:pt x="1576" y="21"/>
                  </a:cubicBezTo>
                  <a:cubicBezTo>
                    <a:pt x="1071" y="170"/>
                    <a:pt x="1071" y="170"/>
                    <a:pt x="1071" y="170"/>
                  </a:cubicBezTo>
                  <a:cubicBezTo>
                    <a:pt x="1115" y="289"/>
                    <a:pt x="1115" y="289"/>
                    <a:pt x="1115" y="289"/>
                  </a:cubicBezTo>
                  <a:cubicBezTo>
                    <a:pt x="1115" y="289"/>
                    <a:pt x="1446" y="189"/>
                    <a:pt x="1557" y="157"/>
                  </a:cubicBezTo>
                  <a:cubicBezTo>
                    <a:pt x="1596" y="146"/>
                    <a:pt x="1626" y="132"/>
                    <a:pt x="1636" y="158"/>
                  </a:cubicBezTo>
                  <a:cubicBezTo>
                    <a:pt x="1649" y="193"/>
                    <a:pt x="1623" y="205"/>
                    <a:pt x="1585" y="228"/>
                  </a:cubicBezTo>
                  <a:cubicBezTo>
                    <a:pt x="1492" y="285"/>
                    <a:pt x="835" y="707"/>
                    <a:pt x="772" y="707"/>
                  </a:cubicBezTo>
                  <a:cubicBezTo>
                    <a:pt x="678" y="707"/>
                    <a:pt x="0" y="579"/>
                    <a:pt x="0" y="57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0" y="709"/>
                    <a:pt x="698" y="834"/>
                    <a:pt x="787" y="834"/>
                  </a:cubicBezTo>
                  <a:cubicBezTo>
                    <a:pt x="884" y="834"/>
                    <a:pt x="1714" y="294"/>
                    <a:pt x="1714" y="294"/>
                  </a:cubicBezTo>
                  <a:cubicBezTo>
                    <a:pt x="1767" y="257"/>
                    <a:pt x="1774" y="160"/>
                    <a:pt x="1745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grpSp>
        <p:nvGrpSpPr>
          <p:cNvPr id="31" name="Group 24">
            <a:extLst>
              <a:ext uri="{FF2B5EF4-FFF2-40B4-BE49-F238E27FC236}">
                <a16:creationId xmlns:a16="http://schemas.microsoft.com/office/drawing/2014/main" id="{ABA51A10-2392-D0A6-B461-62910DC7954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66846" y="4859703"/>
            <a:ext cx="432000" cy="324955"/>
            <a:chOff x="3931" y="1436"/>
            <a:chExt cx="452" cy="340"/>
          </a:xfrm>
          <a:solidFill>
            <a:schemeClr val="bg1"/>
          </a:solidFill>
        </p:grpSpPr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47195C9C-562E-8328-0F8F-046530EB23D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6" y="1570"/>
              <a:ext cx="156" cy="153"/>
            </a:xfrm>
            <a:custGeom>
              <a:avLst/>
              <a:gdLst>
                <a:gd name="T0" fmla="*/ 105 w 221"/>
                <a:gd name="T1" fmla="*/ 110 h 218"/>
                <a:gd name="T2" fmla="*/ 171 w 221"/>
                <a:gd name="T3" fmla="*/ 21 h 218"/>
                <a:gd name="T4" fmla="*/ 105 w 221"/>
                <a:gd name="T5" fmla="*/ 1 h 218"/>
                <a:gd name="T6" fmla="*/ 4 w 221"/>
                <a:gd name="T7" fmla="*/ 114 h 218"/>
                <a:gd name="T8" fmla="*/ 116 w 221"/>
                <a:gd name="T9" fmla="*/ 215 h 218"/>
                <a:gd name="T10" fmla="*/ 217 w 221"/>
                <a:gd name="T11" fmla="*/ 102 h 218"/>
                <a:gd name="T12" fmla="*/ 207 w 221"/>
                <a:gd name="T13" fmla="*/ 63 h 218"/>
                <a:gd name="T14" fmla="*/ 105 w 221"/>
                <a:gd name="T15" fmla="*/ 11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18">
                  <a:moveTo>
                    <a:pt x="105" y="110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53" y="8"/>
                    <a:pt x="129" y="0"/>
                    <a:pt x="105" y="1"/>
                  </a:cubicBezTo>
                  <a:cubicBezTo>
                    <a:pt x="46" y="5"/>
                    <a:pt x="0" y="55"/>
                    <a:pt x="4" y="114"/>
                  </a:cubicBezTo>
                  <a:cubicBezTo>
                    <a:pt x="7" y="173"/>
                    <a:pt x="57" y="218"/>
                    <a:pt x="116" y="215"/>
                  </a:cubicBezTo>
                  <a:cubicBezTo>
                    <a:pt x="175" y="212"/>
                    <a:pt x="221" y="161"/>
                    <a:pt x="217" y="102"/>
                  </a:cubicBezTo>
                  <a:cubicBezTo>
                    <a:pt x="217" y="88"/>
                    <a:pt x="213" y="75"/>
                    <a:pt x="207" y="63"/>
                  </a:cubicBezTo>
                  <a:lnTo>
                    <a:pt x="10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5E6274BF-DBD3-71C2-684C-5E42FAAEFB8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3" y="1436"/>
              <a:ext cx="182" cy="175"/>
            </a:xfrm>
            <a:custGeom>
              <a:avLst/>
              <a:gdLst>
                <a:gd name="T0" fmla="*/ 182 w 182"/>
                <a:gd name="T1" fmla="*/ 58 h 175"/>
                <a:gd name="T2" fmla="*/ 127 w 182"/>
                <a:gd name="T3" fmla="*/ 0 h 175"/>
                <a:gd name="T4" fmla="*/ 0 w 182"/>
                <a:gd name="T5" fmla="*/ 175 h 175"/>
                <a:gd name="T6" fmla="*/ 182 w 182"/>
                <a:gd name="T7" fmla="*/ 5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75">
                  <a:moveTo>
                    <a:pt x="182" y="58"/>
                  </a:moveTo>
                  <a:lnTo>
                    <a:pt x="127" y="0"/>
                  </a:lnTo>
                  <a:lnTo>
                    <a:pt x="0" y="175"/>
                  </a:lnTo>
                  <a:lnTo>
                    <a:pt x="18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A18C8091-A00A-2DF5-EFE4-6A1534D47D0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1" y="1523"/>
              <a:ext cx="452" cy="253"/>
            </a:xfrm>
            <a:custGeom>
              <a:avLst/>
              <a:gdLst>
                <a:gd name="T0" fmla="*/ 639 w 641"/>
                <a:gd name="T1" fmla="*/ 163 h 360"/>
                <a:gd name="T2" fmla="*/ 542 w 641"/>
                <a:gd name="T3" fmla="*/ 61 h 360"/>
                <a:gd name="T4" fmla="*/ 511 w 641"/>
                <a:gd name="T5" fmla="*/ 81 h 360"/>
                <a:gd name="T6" fmla="*/ 600 w 641"/>
                <a:gd name="T7" fmla="*/ 172 h 360"/>
                <a:gd name="T8" fmla="*/ 317 w 641"/>
                <a:gd name="T9" fmla="*/ 323 h 360"/>
                <a:gd name="T10" fmla="*/ 41 w 641"/>
                <a:gd name="T11" fmla="*/ 171 h 360"/>
                <a:gd name="T12" fmla="*/ 318 w 641"/>
                <a:gd name="T13" fmla="*/ 38 h 360"/>
                <a:gd name="T14" fmla="*/ 386 w 641"/>
                <a:gd name="T15" fmla="*/ 43 h 360"/>
                <a:gd name="T16" fmla="*/ 410 w 641"/>
                <a:gd name="T17" fmla="*/ 10 h 360"/>
                <a:gd name="T18" fmla="*/ 318 w 641"/>
                <a:gd name="T19" fmla="*/ 0 h 360"/>
                <a:gd name="T20" fmla="*/ 3 w 641"/>
                <a:gd name="T21" fmla="*/ 163 h 360"/>
                <a:gd name="T22" fmla="*/ 3 w 641"/>
                <a:gd name="T23" fmla="*/ 180 h 360"/>
                <a:gd name="T24" fmla="*/ 317 w 641"/>
                <a:gd name="T25" fmla="*/ 360 h 360"/>
                <a:gd name="T26" fmla="*/ 639 w 641"/>
                <a:gd name="T27" fmla="*/ 180 h 360"/>
                <a:gd name="T28" fmla="*/ 641 w 641"/>
                <a:gd name="T29" fmla="*/ 172 h 360"/>
                <a:gd name="T30" fmla="*/ 639 w 641"/>
                <a:gd name="T31" fmla="*/ 16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1" h="360">
                  <a:moveTo>
                    <a:pt x="639" y="163"/>
                  </a:moveTo>
                  <a:cubicBezTo>
                    <a:pt x="637" y="160"/>
                    <a:pt x="595" y="102"/>
                    <a:pt x="542" y="61"/>
                  </a:cubicBezTo>
                  <a:cubicBezTo>
                    <a:pt x="511" y="81"/>
                    <a:pt x="511" y="81"/>
                    <a:pt x="511" y="81"/>
                  </a:cubicBezTo>
                  <a:cubicBezTo>
                    <a:pt x="555" y="111"/>
                    <a:pt x="590" y="156"/>
                    <a:pt x="600" y="172"/>
                  </a:cubicBezTo>
                  <a:cubicBezTo>
                    <a:pt x="580" y="202"/>
                    <a:pt x="501" y="323"/>
                    <a:pt x="317" y="323"/>
                  </a:cubicBezTo>
                  <a:cubicBezTo>
                    <a:pt x="137" y="323"/>
                    <a:pt x="60" y="202"/>
                    <a:pt x="41" y="171"/>
                  </a:cubicBezTo>
                  <a:cubicBezTo>
                    <a:pt x="60" y="141"/>
                    <a:pt x="138" y="38"/>
                    <a:pt x="318" y="38"/>
                  </a:cubicBezTo>
                  <a:cubicBezTo>
                    <a:pt x="343" y="38"/>
                    <a:pt x="365" y="40"/>
                    <a:pt x="386" y="43"/>
                  </a:cubicBezTo>
                  <a:cubicBezTo>
                    <a:pt x="410" y="10"/>
                    <a:pt x="410" y="10"/>
                    <a:pt x="410" y="10"/>
                  </a:cubicBezTo>
                  <a:cubicBezTo>
                    <a:pt x="382" y="4"/>
                    <a:pt x="351" y="0"/>
                    <a:pt x="318" y="0"/>
                  </a:cubicBezTo>
                  <a:cubicBezTo>
                    <a:pt x="85" y="0"/>
                    <a:pt x="6" y="156"/>
                    <a:pt x="3" y="163"/>
                  </a:cubicBezTo>
                  <a:cubicBezTo>
                    <a:pt x="0" y="168"/>
                    <a:pt x="0" y="174"/>
                    <a:pt x="3" y="180"/>
                  </a:cubicBezTo>
                  <a:cubicBezTo>
                    <a:pt x="6" y="186"/>
                    <a:pt x="85" y="360"/>
                    <a:pt x="317" y="360"/>
                  </a:cubicBezTo>
                  <a:cubicBezTo>
                    <a:pt x="553" y="360"/>
                    <a:pt x="635" y="187"/>
                    <a:pt x="639" y="180"/>
                  </a:cubicBezTo>
                  <a:cubicBezTo>
                    <a:pt x="640" y="178"/>
                    <a:pt x="641" y="175"/>
                    <a:pt x="641" y="172"/>
                  </a:cubicBezTo>
                  <a:cubicBezTo>
                    <a:pt x="641" y="169"/>
                    <a:pt x="640" y="166"/>
                    <a:pt x="639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grpSp>
        <p:nvGrpSpPr>
          <p:cNvPr id="35" name="Group 45">
            <a:extLst>
              <a:ext uri="{FF2B5EF4-FFF2-40B4-BE49-F238E27FC236}">
                <a16:creationId xmlns:a16="http://schemas.microsoft.com/office/drawing/2014/main" id="{BC472291-A58B-2029-8D51-8BCCE7D3E85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23599" y="2700317"/>
            <a:ext cx="396000" cy="390320"/>
            <a:chOff x="3575" y="1121"/>
            <a:chExt cx="4255" cy="4194"/>
          </a:xfrm>
          <a:solidFill>
            <a:schemeClr val="bg1"/>
          </a:solidFill>
        </p:grpSpPr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id="{F3C2E63E-EC93-5D59-F37D-3FAD18633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0" y="2888"/>
              <a:ext cx="307" cy="637"/>
            </a:xfrm>
            <a:custGeom>
              <a:avLst/>
              <a:gdLst>
                <a:gd name="T0" fmla="*/ 307 w 307"/>
                <a:gd name="T1" fmla="*/ 637 h 637"/>
                <a:gd name="T2" fmla="*/ 150 w 307"/>
                <a:gd name="T3" fmla="*/ 637 h 637"/>
                <a:gd name="T4" fmla="*/ 150 w 307"/>
                <a:gd name="T5" fmla="*/ 180 h 637"/>
                <a:gd name="T6" fmla="*/ 0 w 307"/>
                <a:gd name="T7" fmla="*/ 252 h 637"/>
                <a:gd name="T8" fmla="*/ 0 w 307"/>
                <a:gd name="T9" fmla="*/ 90 h 637"/>
                <a:gd name="T10" fmla="*/ 198 w 307"/>
                <a:gd name="T11" fmla="*/ 0 h 637"/>
                <a:gd name="T12" fmla="*/ 307 w 307"/>
                <a:gd name="T13" fmla="*/ 0 h 637"/>
                <a:gd name="T14" fmla="*/ 307 w 307"/>
                <a:gd name="T15" fmla="*/ 63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" h="637">
                  <a:moveTo>
                    <a:pt x="307" y="637"/>
                  </a:moveTo>
                  <a:lnTo>
                    <a:pt x="150" y="637"/>
                  </a:lnTo>
                  <a:lnTo>
                    <a:pt x="150" y="180"/>
                  </a:lnTo>
                  <a:lnTo>
                    <a:pt x="0" y="252"/>
                  </a:lnTo>
                  <a:lnTo>
                    <a:pt x="0" y="90"/>
                  </a:lnTo>
                  <a:lnTo>
                    <a:pt x="198" y="0"/>
                  </a:lnTo>
                  <a:lnTo>
                    <a:pt x="307" y="0"/>
                  </a:lnTo>
                  <a:lnTo>
                    <a:pt x="307" y="6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7" name="Freeform 47">
              <a:extLst>
                <a:ext uri="{FF2B5EF4-FFF2-40B4-BE49-F238E27FC236}">
                  <a16:creationId xmlns:a16="http://schemas.microsoft.com/office/drawing/2014/main" id="{0C96C772-063C-45D2-C344-DE74C8A354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01" y="2876"/>
              <a:ext cx="530" cy="655"/>
            </a:xfrm>
            <a:custGeom>
              <a:avLst/>
              <a:gdLst>
                <a:gd name="T0" fmla="*/ 0 w 88"/>
                <a:gd name="T1" fmla="*/ 55 h 109"/>
                <a:gd name="T2" fmla="*/ 44 w 88"/>
                <a:gd name="T3" fmla="*/ 0 h 109"/>
                <a:gd name="T4" fmla="*/ 88 w 88"/>
                <a:gd name="T5" fmla="*/ 55 h 109"/>
                <a:gd name="T6" fmla="*/ 44 w 88"/>
                <a:gd name="T7" fmla="*/ 109 h 109"/>
                <a:gd name="T8" fmla="*/ 0 w 88"/>
                <a:gd name="T9" fmla="*/ 55 h 109"/>
                <a:gd name="T10" fmla="*/ 27 w 88"/>
                <a:gd name="T11" fmla="*/ 55 h 109"/>
                <a:gd name="T12" fmla="*/ 44 w 88"/>
                <a:gd name="T13" fmla="*/ 85 h 109"/>
                <a:gd name="T14" fmla="*/ 61 w 88"/>
                <a:gd name="T15" fmla="*/ 55 h 109"/>
                <a:gd name="T16" fmla="*/ 44 w 88"/>
                <a:gd name="T17" fmla="*/ 24 h 109"/>
                <a:gd name="T18" fmla="*/ 27 w 88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109">
                  <a:moveTo>
                    <a:pt x="0" y="55"/>
                  </a:moveTo>
                  <a:cubicBezTo>
                    <a:pt x="0" y="22"/>
                    <a:pt x="18" y="0"/>
                    <a:pt x="44" y="0"/>
                  </a:cubicBezTo>
                  <a:cubicBezTo>
                    <a:pt x="70" y="0"/>
                    <a:pt x="88" y="22"/>
                    <a:pt x="88" y="55"/>
                  </a:cubicBezTo>
                  <a:cubicBezTo>
                    <a:pt x="88" y="87"/>
                    <a:pt x="70" y="109"/>
                    <a:pt x="44" y="109"/>
                  </a:cubicBezTo>
                  <a:cubicBezTo>
                    <a:pt x="18" y="109"/>
                    <a:pt x="0" y="87"/>
                    <a:pt x="0" y="55"/>
                  </a:cubicBezTo>
                  <a:close/>
                  <a:moveTo>
                    <a:pt x="27" y="55"/>
                  </a:moveTo>
                  <a:cubicBezTo>
                    <a:pt x="27" y="71"/>
                    <a:pt x="32" y="85"/>
                    <a:pt x="44" y="85"/>
                  </a:cubicBezTo>
                  <a:cubicBezTo>
                    <a:pt x="56" y="85"/>
                    <a:pt x="61" y="71"/>
                    <a:pt x="61" y="55"/>
                  </a:cubicBezTo>
                  <a:cubicBezTo>
                    <a:pt x="61" y="38"/>
                    <a:pt x="56" y="24"/>
                    <a:pt x="44" y="24"/>
                  </a:cubicBezTo>
                  <a:cubicBezTo>
                    <a:pt x="32" y="24"/>
                    <a:pt x="27" y="38"/>
                    <a:pt x="2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8" name="Freeform 48">
              <a:extLst>
                <a:ext uri="{FF2B5EF4-FFF2-40B4-BE49-F238E27FC236}">
                  <a16:creationId xmlns:a16="http://schemas.microsoft.com/office/drawing/2014/main" id="{2B0566CC-5DB4-D425-B75C-68FF2027A2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85" y="2876"/>
              <a:ext cx="523" cy="655"/>
            </a:xfrm>
            <a:custGeom>
              <a:avLst/>
              <a:gdLst>
                <a:gd name="T0" fmla="*/ 0 w 87"/>
                <a:gd name="T1" fmla="*/ 55 h 109"/>
                <a:gd name="T2" fmla="*/ 43 w 87"/>
                <a:gd name="T3" fmla="*/ 0 h 109"/>
                <a:gd name="T4" fmla="*/ 87 w 87"/>
                <a:gd name="T5" fmla="*/ 55 h 109"/>
                <a:gd name="T6" fmla="*/ 43 w 87"/>
                <a:gd name="T7" fmla="*/ 109 h 109"/>
                <a:gd name="T8" fmla="*/ 0 w 87"/>
                <a:gd name="T9" fmla="*/ 55 h 109"/>
                <a:gd name="T10" fmla="*/ 26 w 87"/>
                <a:gd name="T11" fmla="*/ 55 h 109"/>
                <a:gd name="T12" fmla="*/ 43 w 87"/>
                <a:gd name="T13" fmla="*/ 85 h 109"/>
                <a:gd name="T14" fmla="*/ 60 w 87"/>
                <a:gd name="T15" fmla="*/ 55 h 109"/>
                <a:gd name="T16" fmla="*/ 43 w 87"/>
                <a:gd name="T17" fmla="*/ 24 h 109"/>
                <a:gd name="T18" fmla="*/ 26 w 87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9">
                  <a:moveTo>
                    <a:pt x="0" y="55"/>
                  </a:moveTo>
                  <a:cubicBezTo>
                    <a:pt x="0" y="22"/>
                    <a:pt x="17" y="0"/>
                    <a:pt x="43" y="0"/>
                  </a:cubicBezTo>
                  <a:cubicBezTo>
                    <a:pt x="69" y="0"/>
                    <a:pt x="87" y="22"/>
                    <a:pt x="87" y="55"/>
                  </a:cubicBezTo>
                  <a:cubicBezTo>
                    <a:pt x="87" y="87"/>
                    <a:pt x="69" y="109"/>
                    <a:pt x="43" y="109"/>
                  </a:cubicBezTo>
                  <a:cubicBezTo>
                    <a:pt x="17" y="109"/>
                    <a:pt x="0" y="87"/>
                    <a:pt x="0" y="55"/>
                  </a:cubicBezTo>
                  <a:close/>
                  <a:moveTo>
                    <a:pt x="26" y="55"/>
                  </a:moveTo>
                  <a:cubicBezTo>
                    <a:pt x="26" y="71"/>
                    <a:pt x="31" y="85"/>
                    <a:pt x="43" y="85"/>
                  </a:cubicBezTo>
                  <a:cubicBezTo>
                    <a:pt x="56" y="85"/>
                    <a:pt x="60" y="71"/>
                    <a:pt x="60" y="55"/>
                  </a:cubicBezTo>
                  <a:cubicBezTo>
                    <a:pt x="60" y="38"/>
                    <a:pt x="56" y="24"/>
                    <a:pt x="43" y="24"/>
                  </a:cubicBezTo>
                  <a:cubicBezTo>
                    <a:pt x="31" y="24"/>
                    <a:pt x="26" y="38"/>
                    <a:pt x="2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39" name="Freeform 49">
              <a:extLst>
                <a:ext uri="{FF2B5EF4-FFF2-40B4-BE49-F238E27FC236}">
                  <a16:creationId xmlns:a16="http://schemas.microsoft.com/office/drawing/2014/main" id="{A9C7B117-EE81-767E-84A7-BF1CD73AD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2" y="2876"/>
              <a:ext cx="657" cy="655"/>
            </a:xfrm>
            <a:custGeom>
              <a:avLst/>
              <a:gdLst>
                <a:gd name="T0" fmla="*/ 25 w 109"/>
                <a:gd name="T1" fmla="*/ 50 h 109"/>
                <a:gd name="T2" fmla="*/ 0 w 109"/>
                <a:gd name="T3" fmla="*/ 25 h 109"/>
                <a:gd name="T4" fmla="*/ 25 w 109"/>
                <a:gd name="T5" fmla="*/ 0 h 109"/>
                <a:gd name="T6" fmla="*/ 50 w 109"/>
                <a:gd name="T7" fmla="*/ 25 h 109"/>
                <a:gd name="T8" fmla="*/ 25 w 109"/>
                <a:gd name="T9" fmla="*/ 50 h 109"/>
                <a:gd name="T10" fmla="*/ 80 w 109"/>
                <a:gd name="T11" fmla="*/ 2 h 109"/>
                <a:gd name="T12" fmla="*/ 96 w 109"/>
                <a:gd name="T13" fmla="*/ 2 h 109"/>
                <a:gd name="T14" fmla="*/ 28 w 109"/>
                <a:gd name="T15" fmla="*/ 108 h 109"/>
                <a:gd name="T16" fmla="*/ 12 w 109"/>
                <a:gd name="T17" fmla="*/ 108 h 109"/>
                <a:gd name="T18" fmla="*/ 80 w 109"/>
                <a:gd name="T19" fmla="*/ 2 h 109"/>
                <a:gd name="T20" fmla="*/ 25 w 109"/>
                <a:gd name="T21" fmla="*/ 34 h 109"/>
                <a:gd name="T22" fmla="*/ 34 w 109"/>
                <a:gd name="T23" fmla="*/ 25 h 109"/>
                <a:gd name="T24" fmla="*/ 25 w 109"/>
                <a:gd name="T25" fmla="*/ 16 h 109"/>
                <a:gd name="T26" fmla="*/ 16 w 109"/>
                <a:gd name="T27" fmla="*/ 25 h 109"/>
                <a:gd name="T28" fmla="*/ 25 w 109"/>
                <a:gd name="T29" fmla="*/ 34 h 109"/>
                <a:gd name="T30" fmla="*/ 84 w 109"/>
                <a:gd name="T31" fmla="*/ 109 h 109"/>
                <a:gd name="T32" fmla="*/ 58 w 109"/>
                <a:gd name="T33" fmla="*/ 84 h 109"/>
                <a:gd name="T34" fmla="*/ 84 w 109"/>
                <a:gd name="T35" fmla="*/ 59 h 109"/>
                <a:gd name="T36" fmla="*/ 109 w 109"/>
                <a:gd name="T37" fmla="*/ 84 h 109"/>
                <a:gd name="T38" fmla="*/ 84 w 109"/>
                <a:gd name="T39" fmla="*/ 109 h 109"/>
                <a:gd name="T40" fmla="*/ 84 w 109"/>
                <a:gd name="T41" fmla="*/ 75 h 109"/>
                <a:gd name="T42" fmla="*/ 74 w 109"/>
                <a:gd name="T43" fmla="*/ 84 h 109"/>
                <a:gd name="T44" fmla="*/ 84 w 109"/>
                <a:gd name="T45" fmla="*/ 93 h 109"/>
                <a:gd name="T46" fmla="*/ 93 w 109"/>
                <a:gd name="T47" fmla="*/ 84 h 109"/>
                <a:gd name="T48" fmla="*/ 84 w 109"/>
                <a:gd name="T49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" h="109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80" y="2"/>
                  </a:moveTo>
                  <a:cubicBezTo>
                    <a:pt x="96" y="2"/>
                    <a:pt x="96" y="2"/>
                    <a:pt x="96" y="2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12" y="108"/>
                    <a:pt x="12" y="108"/>
                    <a:pt x="12" y="108"/>
                  </a:cubicBezTo>
                  <a:lnTo>
                    <a:pt x="80" y="2"/>
                  </a:lnTo>
                  <a:close/>
                  <a:moveTo>
                    <a:pt x="25" y="34"/>
                  </a:move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lose/>
                  <a:moveTo>
                    <a:pt x="84" y="109"/>
                  </a:moveTo>
                  <a:cubicBezTo>
                    <a:pt x="69" y="109"/>
                    <a:pt x="58" y="98"/>
                    <a:pt x="58" y="84"/>
                  </a:cubicBezTo>
                  <a:cubicBezTo>
                    <a:pt x="58" y="70"/>
                    <a:pt x="69" y="59"/>
                    <a:pt x="84" y="59"/>
                  </a:cubicBezTo>
                  <a:cubicBezTo>
                    <a:pt x="98" y="59"/>
                    <a:pt x="109" y="70"/>
                    <a:pt x="109" y="84"/>
                  </a:cubicBezTo>
                  <a:cubicBezTo>
                    <a:pt x="109" y="98"/>
                    <a:pt x="98" y="109"/>
                    <a:pt x="84" y="109"/>
                  </a:cubicBezTo>
                  <a:close/>
                  <a:moveTo>
                    <a:pt x="84" y="75"/>
                  </a:moveTo>
                  <a:cubicBezTo>
                    <a:pt x="78" y="75"/>
                    <a:pt x="74" y="79"/>
                    <a:pt x="74" y="84"/>
                  </a:cubicBezTo>
                  <a:cubicBezTo>
                    <a:pt x="74" y="89"/>
                    <a:pt x="78" y="93"/>
                    <a:pt x="84" y="93"/>
                  </a:cubicBezTo>
                  <a:cubicBezTo>
                    <a:pt x="89" y="93"/>
                    <a:pt x="93" y="89"/>
                    <a:pt x="93" y="84"/>
                  </a:cubicBezTo>
                  <a:cubicBezTo>
                    <a:pt x="93" y="79"/>
                    <a:pt x="89" y="75"/>
                    <a:pt x="84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0" name="Freeform 50">
              <a:extLst>
                <a:ext uri="{FF2B5EF4-FFF2-40B4-BE49-F238E27FC236}">
                  <a16:creationId xmlns:a16="http://schemas.microsoft.com/office/drawing/2014/main" id="{DE330F48-35DA-97C7-439D-61E1ACF566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5" y="1271"/>
              <a:ext cx="4255" cy="4044"/>
            </a:xfrm>
            <a:custGeom>
              <a:avLst/>
              <a:gdLst>
                <a:gd name="T0" fmla="*/ 392 w 707"/>
                <a:gd name="T1" fmla="*/ 0 h 673"/>
                <a:gd name="T2" fmla="*/ 435 w 707"/>
                <a:gd name="T3" fmla="*/ 43 h 673"/>
                <a:gd name="T4" fmla="*/ 461 w 707"/>
                <a:gd name="T5" fmla="*/ 69 h 673"/>
                <a:gd name="T6" fmla="*/ 435 w 707"/>
                <a:gd name="T7" fmla="*/ 94 h 673"/>
                <a:gd name="T8" fmla="*/ 414 w 707"/>
                <a:gd name="T9" fmla="*/ 115 h 673"/>
                <a:gd name="T10" fmla="*/ 505 w 707"/>
                <a:gd name="T11" fmla="*/ 168 h 673"/>
                <a:gd name="T12" fmla="*/ 505 w 707"/>
                <a:gd name="T13" fmla="*/ 471 h 673"/>
                <a:gd name="T14" fmla="*/ 202 w 707"/>
                <a:gd name="T15" fmla="*/ 471 h 673"/>
                <a:gd name="T16" fmla="*/ 202 w 707"/>
                <a:gd name="T17" fmla="*/ 168 h 673"/>
                <a:gd name="T18" fmla="*/ 234 w 707"/>
                <a:gd name="T19" fmla="*/ 143 h 673"/>
                <a:gd name="T20" fmla="*/ 265 w 707"/>
                <a:gd name="T21" fmla="*/ 111 h 673"/>
                <a:gd name="T22" fmla="*/ 308 w 707"/>
                <a:gd name="T23" fmla="*/ 68 h 673"/>
                <a:gd name="T24" fmla="*/ 265 w 707"/>
                <a:gd name="T25" fmla="*/ 26 h 673"/>
                <a:gd name="T26" fmla="*/ 254 w 707"/>
                <a:gd name="T27" fmla="*/ 14 h 673"/>
                <a:gd name="T28" fmla="*/ 126 w 707"/>
                <a:gd name="T29" fmla="*/ 92 h 673"/>
                <a:gd name="T30" fmla="*/ 126 w 707"/>
                <a:gd name="T31" fmla="*/ 547 h 673"/>
                <a:gd name="T32" fmla="*/ 581 w 707"/>
                <a:gd name="T33" fmla="*/ 547 h 673"/>
                <a:gd name="T34" fmla="*/ 581 w 707"/>
                <a:gd name="T35" fmla="*/ 92 h 673"/>
                <a:gd name="T36" fmla="*/ 392 w 707"/>
                <a:gd name="T37" fmla="*/ 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7" h="673">
                  <a:moveTo>
                    <a:pt x="392" y="0"/>
                  </a:moveTo>
                  <a:cubicBezTo>
                    <a:pt x="435" y="43"/>
                    <a:pt x="435" y="43"/>
                    <a:pt x="435" y="43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35" y="94"/>
                    <a:pt x="435" y="94"/>
                    <a:pt x="435" y="94"/>
                  </a:cubicBezTo>
                  <a:cubicBezTo>
                    <a:pt x="414" y="115"/>
                    <a:pt x="414" y="115"/>
                    <a:pt x="414" y="115"/>
                  </a:cubicBezTo>
                  <a:cubicBezTo>
                    <a:pt x="448" y="124"/>
                    <a:pt x="479" y="142"/>
                    <a:pt x="505" y="168"/>
                  </a:cubicBezTo>
                  <a:cubicBezTo>
                    <a:pt x="588" y="252"/>
                    <a:pt x="588" y="388"/>
                    <a:pt x="505" y="471"/>
                  </a:cubicBezTo>
                  <a:cubicBezTo>
                    <a:pt x="422" y="554"/>
                    <a:pt x="286" y="554"/>
                    <a:pt x="202" y="471"/>
                  </a:cubicBezTo>
                  <a:cubicBezTo>
                    <a:pt x="119" y="388"/>
                    <a:pt x="119" y="252"/>
                    <a:pt x="202" y="168"/>
                  </a:cubicBezTo>
                  <a:cubicBezTo>
                    <a:pt x="212" y="159"/>
                    <a:pt x="223" y="150"/>
                    <a:pt x="234" y="143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308" y="68"/>
                    <a:pt x="308" y="68"/>
                    <a:pt x="308" y="68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07" y="29"/>
                    <a:pt x="163" y="55"/>
                    <a:pt x="126" y="92"/>
                  </a:cubicBezTo>
                  <a:cubicBezTo>
                    <a:pt x="0" y="218"/>
                    <a:pt x="0" y="422"/>
                    <a:pt x="126" y="547"/>
                  </a:cubicBezTo>
                  <a:cubicBezTo>
                    <a:pt x="252" y="673"/>
                    <a:pt x="456" y="673"/>
                    <a:pt x="581" y="547"/>
                  </a:cubicBezTo>
                  <a:cubicBezTo>
                    <a:pt x="707" y="422"/>
                    <a:pt x="707" y="218"/>
                    <a:pt x="581" y="92"/>
                  </a:cubicBezTo>
                  <a:cubicBezTo>
                    <a:pt x="528" y="39"/>
                    <a:pt x="462" y="9"/>
                    <a:pt x="3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1" name="Freeform 51">
              <a:extLst>
                <a:ext uri="{FF2B5EF4-FFF2-40B4-BE49-F238E27FC236}">
                  <a16:creationId xmlns:a16="http://schemas.microsoft.com/office/drawing/2014/main" id="{B7EEAA1A-C00C-5113-9EAB-B418EE8BBC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6" y="1121"/>
              <a:ext cx="716" cy="1124"/>
            </a:xfrm>
            <a:custGeom>
              <a:avLst/>
              <a:gdLst>
                <a:gd name="T0" fmla="*/ 150 w 716"/>
                <a:gd name="T1" fmla="*/ 0 h 1124"/>
                <a:gd name="T2" fmla="*/ 716 w 716"/>
                <a:gd name="T3" fmla="*/ 565 h 1124"/>
                <a:gd name="T4" fmla="*/ 150 w 716"/>
                <a:gd name="T5" fmla="*/ 1124 h 1124"/>
                <a:gd name="T6" fmla="*/ 0 w 716"/>
                <a:gd name="T7" fmla="*/ 967 h 1124"/>
                <a:gd name="T8" fmla="*/ 409 w 716"/>
                <a:gd name="T9" fmla="*/ 559 h 1124"/>
                <a:gd name="T10" fmla="*/ 0 w 716"/>
                <a:gd name="T11" fmla="*/ 150 h 1124"/>
                <a:gd name="T12" fmla="*/ 150 w 716"/>
                <a:gd name="T13" fmla="*/ 0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6" h="1124">
                  <a:moveTo>
                    <a:pt x="150" y="0"/>
                  </a:moveTo>
                  <a:lnTo>
                    <a:pt x="716" y="565"/>
                  </a:lnTo>
                  <a:lnTo>
                    <a:pt x="150" y="1124"/>
                  </a:lnTo>
                  <a:lnTo>
                    <a:pt x="0" y="967"/>
                  </a:lnTo>
                  <a:lnTo>
                    <a:pt x="409" y="559"/>
                  </a:lnTo>
                  <a:lnTo>
                    <a:pt x="0" y="15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2" name="Freeform 52">
              <a:extLst>
                <a:ext uri="{FF2B5EF4-FFF2-40B4-BE49-F238E27FC236}">
                  <a16:creationId xmlns:a16="http://schemas.microsoft.com/office/drawing/2014/main" id="{A3FC5AFF-DEBB-FD5A-8894-F256A4870E3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6" y="1121"/>
              <a:ext cx="716" cy="1124"/>
            </a:xfrm>
            <a:custGeom>
              <a:avLst/>
              <a:gdLst>
                <a:gd name="T0" fmla="*/ 150 w 716"/>
                <a:gd name="T1" fmla="*/ 0 h 1124"/>
                <a:gd name="T2" fmla="*/ 716 w 716"/>
                <a:gd name="T3" fmla="*/ 565 h 1124"/>
                <a:gd name="T4" fmla="*/ 150 w 716"/>
                <a:gd name="T5" fmla="*/ 1124 h 1124"/>
                <a:gd name="T6" fmla="*/ 0 w 716"/>
                <a:gd name="T7" fmla="*/ 967 h 1124"/>
                <a:gd name="T8" fmla="*/ 409 w 716"/>
                <a:gd name="T9" fmla="*/ 559 h 1124"/>
                <a:gd name="T10" fmla="*/ 0 w 716"/>
                <a:gd name="T11" fmla="*/ 150 h 1124"/>
                <a:gd name="T12" fmla="*/ 150 w 716"/>
                <a:gd name="T13" fmla="*/ 0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6" h="1124">
                  <a:moveTo>
                    <a:pt x="150" y="0"/>
                  </a:moveTo>
                  <a:lnTo>
                    <a:pt x="716" y="565"/>
                  </a:lnTo>
                  <a:lnTo>
                    <a:pt x="150" y="1124"/>
                  </a:lnTo>
                  <a:lnTo>
                    <a:pt x="0" y="967"/>
                  </a:lnTo>
                  <a:lnTo>
                    <a:pt x="409" y="559"/>
                  </a:lnTo>
                  <a:lnTo>
                    <a:pt x="0" y="150"/>
                  </a:lnTo>
                  <a:lnTo>
                    <a:pt x="1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sp>
        <p:nvSpPr>
          <p:cNvPr id="43" name="Grafik 308">
            <a:extLst>
              <a:ext uri="{FF2B5EF4-FFF2-40B4-BE49-F238E27FC236}">
                <a16:creationId xmlns:a16="http://schemas.microsoft.com/office/drawing/2014/main" id="{A02DFE66-BC30-01EC-BD6F-89471CE03BFF}"/>
              </a:ext>
            </a:extLst>
          </p:cNvPr>
          <p:cNvSpPr>
            <a:spLocks noChangeAspect="1"/>
          </p:cNvSpPr>
          <p:nvPr/>
        </p:nvSpPr>
        <p:spPr bwMode="gray">
          <a:xfrm>
            <a:off x="5608416" y="2415965"/>
            <a:ext cx="339750" cy="360000"/>
          </a:xfrm>
          <a:custGeom>
            <a:avLst/>
            <a:gdLst>
              <a:gd name="connsiteX0" fmla="*/ 0 w 6472237"/>
              <a:gd name="connsiteY0" fmla="*/ 1143314 h 6858000"/>
              <a:gd name="connsiteX1" fmla="*/ 6475752 w 6472237"/>
              <a:gd name="connsiteY1" fmla="*/ 1143314 h 6858000"/>
              <a:gd name="connsiteX2" fmla="*/ 6475752 w 6472237"/>
              <a:gd name="connsiteY2" fmla="*/ 2286114 h 6858000"/>
              <a:gd name="connsiteX3" fmla="*/ 0 w 6472237"/>
              <a:gd name="connsiteY3" fmla="*/ 2286114 h 6858000"/>
              <a:gd name="connsiteX4" fmla="*/ 0 w 6472237"/>
              <a:gd name="connsiteY4" fmla="*/ 1143314 h 6858000"/>
              <a:gd name="connsiteX5" fmla="*/ 600 w 6472237"/>
              <a:gd name="connsiteY5" fmla="*/ 6659032 h 6858000"/>
              <a:gd name="connsiteX6" fmla="*/ 600 w 6472237"/>
              <a:gd name="connsiteY6" fmla="*/ 2667676 h 6858000"/>
              <a:gd name="connsiteX7" fmla="*/ 385677 w 6472237"/>
              <a:gd name="connsiteY7" fmla="*/ 2667676 h 6858000"/>
              <a:gd name="connsiteX8" fmla="*/ 385677 w 6472237"/>
              <a:gd name="connsiteY8" fmla="*/ 6476352 h 6858000"/>
              <a:gd name="connsiteX9" fmla="*/ 6092733 w 6472237"/>
              <a:gd name="connsiteY9" fmla="*/ 6476352 h 6858000"/>
              <a:gd name="connsiteX10" fmla="*/ 6092733 w 6472237"/>
              <a:gd name="connsiteY10" fmla="*/ 2667076 h 6858000"/>
              <a:gd name="connsiteX11" fmla="*/ 6476352 w 6472237"/>
              <a:gd name="connsiteY11" fmla="*/ 2667076 h 6858000"/>
              <a:gd name="connsiteX12" fmla="*/ 6476352 w 6472237"/>
              <a:gd name="connsiteY12" fmla="*/ 6659032 h 6858000"/>
              <a:gd name="connsiteX13" fmla="*/ 6268383 w 6472237"/>
              <a:gd name="connsiteY13" fmla="*/ 6856200 h 6858000"/>
              <a:gd name="connsiteX14" fmla="*/ 219199 w 6472237"/>
              <a:gd name="connsiteY14" fmla="*/ 6856200 h 6858000"/>
              <a:gd name="connsiteX15" fmla="*/ 600 w 6472237"/>
              <a:gd name="connsiteY15" fmla="*/ 6659032 h 6858000"/>
              <a:gd name="connsiteX16" fmla="*/ 755752 w 6472237"/>
              <a:gd name="connsiteY16" fmla="*/ 0 h 6858000"/>
              <a:gd name="connsiteX17" fmla="*/ 1142543 w 6472237"/>
              <a:gd name="connsiteY17" fmla="*/ 0 h 6858000"/>
              <a:gd name="connsiteX18" fmla="*/ 1142543 w 6472237"/>
              <a:gd name="connsiteY18" fmla="*/ 759352 h 6858000"/>
              <a:gd name="connsiteX19" fmla="*/ 755752 w 6472237"/>
              <a:gd name="connsiteY19" fmla="*/ 759352 h 6858000"/>
              <a:gd name="connsiteX20" fmla="*/ 755752 w 6472237"/>
              <a:gd name="connsiteY20" fmla="*/ 0 h 6858000"/>
              <a:gd name="connsiteX21" fmla="*/ 5332952 w 6472237"/>
              <a:gd name="connsiteY21" fmla="*/ 0 h 6858000"/>
              <a:gd name="connsiteX22" fmla="*/ 5713314 w 6472237"/>
              <a:gd name="connsiteY22" fmla="*/ 0 h 6858000"/>
              <a:gd name="connsiteX23" fmla="*/ 5713314 w 6472237"/>
              <a:gd name="connsiteY23" fmla="*/ 759352 h 6858000"/>
              <a:gd name="connsiteX24" fmla="*/ 5332952 w 6472237"/>
              <a:gd name="connsiteY24" fmla="*/ 759352 h 6858000"/>
              <a:gd name="connsiteX25" fmla="*/ 5332952 w 6472237"/>
              <a:gd name="connsiteY25" fmla="*/ 0 h 6858000"/>
              <a:gd name="connsiteX26" fmla="*/ 3231404 w 6472237"/>
              <a:gd name="connsiteY26" fmla="*/ 3035008 h 6858000"/>
              <a:gd name="connsiteX27" fmla="*/ 1711328 w 6472237"/>
              <a:gd name="connsiteY27" fmla="*/ 4562371 h 6858000"/>
              <a:gd name="connsiteX28" fmla="*/ 3238691 w 6472237"/>
              <a:gd name="connsiteY28" fmla="*/ 6082446 h 6858000"/>
              <a:gd name="connsiteX29" fmla="*/ 4758766 w 6472237"/>
              <a:gd name="connsiteY29" fmla="*/ 4562371 h 6858000"/>
              <a:gd name="connsiteX30" fmla="*/ 3231404 w 6472237"/>
              <a:gd name="connsiteY30" fmla="*/ 3035008 h 6858000"/>
              <a:gd name="connsiteX31" fmla="*/ 3812705 w 6472237"/>
              <a:gd name="connsiteY31" fmla="*/ 4006787 h 6858000"/>
              <a:gd name="connsiteX32" fmla="*/ 3431572 w 6472237"/>
              <a:gd name="connsiteY32" fmla="*/ 3881800 h 6858000"/>
              <a:gd name="connsiteX33" fmla="*/ 2941482 w 6472237"/>
              <a:gd name="connsiteY33" fmla="*/ 4216041 h 6858000"/>
              <a:gd name="connsiteX34" fmla="*/ 3501266 w 6472237"/>
              <a:gd name="connsiteY34" fmla="*/ 4216041 h 6858000"/>
              <a:gd name="connsiteX35" fmla="*/ 3454632 w 6472237"/>
              <a:gd name="connsiteY35" fmla="*/ 4472788 h 6858000"/>
              <a:gd name="connsiteX36" fmla="*/ 2886875 w 6472237"/>
              <a:gd name="connsiteY36" fmla="*/ 4472788 h 6858000"/>
              <a:gd name="connsiteX37" fmla="*/ 2879246 w 6472237"/>
              <a:gd name="connsiteY37" fmla="*/ 4558341 h 6858000"/>
              <a:gd name="connsiteX38" fmla="*/ 2886875 w 6472237"/>
              <a:gd name="connsiteY38" fmla="*/ 4659668 h 6858000"/>
              <a:gd name="connsiteX39" fmla="*/ 3423599 w 6472237"/>
              <a:gd name="connsiteY39" fmla="*/ 4659668 h 6858000"/>
              <a:gd name="connsiteX40" fmla="*/ 3377137 w 6472237"/>
              <a:gd name="connsiteY40" fmla="*/ 4908614 h 6858000"/>
              <a:gd name="connsiteX41" fmla="*/ 2949369 w 6472237"/>
              <a:gd name="connsiteY41" fmla="*/ 4908614 h 6858000"/>
              <a:gd name="connsiteX42" fmla="*/ 3431400 w 6472237"/>
              <a:gd name="connsiteY42" fmla="*/ 5242684 h 6858000"/>
              <a:gd name="connsiteX43" fmla="*/ 3812534 w 6472237"/>
              <a:gd name="connsiteY43" fmla="*/ 5110325 h 6858000"/>
              <a:gd name="connsiteX44" fmla="*/ 3812534 w 6472237"/>
              <a:gd name="connsiteY44" fmla="*/ 5515033 h 6858000"/>
              <a:gd name="connsiteX45" fmla="*/ 3408169 w 6472237"/>
              <a:gd name="connsiteY45" fmla="*/ 5608558 h 6858000"/>
              <a:gd name="connsiteX46" fmla="*/ 2521601 w 6472237"/>
              <a:gd name="connsiteY46" fmla="*/ 4908614 h 6858000"/>
              <a:gd name="connsiteX47" fmla="*/ 2319290 w 6472237"/>
              <a:gd name="connsiteY47" fmla="*/ 4908614 h 6858000"/>
              <a:gd name="connsiteX48" fmla="*/ 2319290 w 6472237"/>
              <a:gd name="connsiteY48" fmla="*/ 4659668 h 6858000"/>
              <a:gd name="connsiteX49" fmla="*/ 2482682 w 6472237"/>
              <a:gd name="connsiteY49" fmla="*/ 4659668 h 6858000"/>
              <a:gd name="connsiteX50" fmla="*/ 2474709 w 6472237"/>
              <a:gd name="connsiteY50" fmla="*/ 4558341 h 6858000"/>
              <a:gd name="connsiteX51" fmla="*/ 2482682 w 6472237"/>
              <a:gd name="connsiteY51" fmla="*/ 4472788 h 6858000"/>
              <a:gd name="connsiteX52" fmla="*/ 2319290 w 6472237"/>
              <a:gd name="connsiteY52" fmla="*/ 4472788 h 6858000"/>
              <a:gd name="connsiteX53" fmla="*/ 2319290 w 6472237"/>
              <a:gd name="connsiteY53" fmla="*/ 4216041 h 6858000"/>
              <a:gd name="connsiteX54" fmla="*/ 2521601 w 6472237"/>
              <a:gd name="connsiteY54" fmla="*/ 4216041 h 6858000"/>
              <a:gd name="connsiteX55" fmla="*/ 3415798 w 6472237"/>
              <a:gd name="connsiteY55" fmla="*/ 3508467 h 6858000"/>
              <a:gd name="connsiteX56" fmla="*/ 3812534 w 6472237"/>
              <a:gd name="connsiteY56" fmla="*/ 3609623 h 6858000"/>
              <a:gd name="connsiteX57" fmla="*/ 3812534 w 6472237"/>
              <a:gd name="connsiteY57" fmla="*/ 4006701 h 6858000"/>
              <a:gd name="connsiteX58" fmla="*/ 3812705 w 6472237"/>
              <a:gd name="connsiteY58" fmla="*/ 4006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6472237" h="6858000">
                <a:moveTo>
                  <a:pt x="0" y="1143314"/>
                </a:moveTo>
                <a:lnTo>
                  <a:pt x="6475752" y="1143314"/>
                </a:lnTo>
                <a:lnTo>
                  <a:pt x="6475752" y="2286114"/>
                </a:lnTo>
                <a:lnTo>
                  <a:pt x="0" y="2286114"/>
                </a:lnTo>
                <a:cubicBezTo>
                  <a:pt x="0" y="2286114"/>
                  <a:pt x="0" y="1143314"/>
                  <a:pt x="0" y="1143314"/>
                </a:cubicBezTo>
                <a:close/>
                <a:moveTo>
                  <a:pt x="600" y="6659032"/>
                </a:moveTo>
                <a:lnTo>
                  <a:pt x="600" y="2667676"/>
                </a:lnTo>
                <a:lnTo>
                  <a:pt x="385677" y="2667676"/>
                </a:lnTo>
                <a:lnTo>
                  <a:pt x="385677" y="6476352"/>
                </a:lnTo>
                <a:lnTo>
                  <a:pt x="6092733" y="6476352"/>
                </a:lnTo>
                <a:lnTo>
                  <a:pt x="6092733" y="2667076"/>
                </a:lnTo>
                <a:lnTo>
                  <a:pt x="6476352" y="2667076"/>
                </a:lnTo>
                <a:lnTo>
                  <a:pt x="6476352" y="6659032"/>
                </a:lnTo>
                <a:cubicBezTo>
                  <a:pt x="6481667" y="6780934"/>
                  <a:pt x="6382827" y="6872316"/>
                  <a:pt x="6268383" y="6856200"/>
                </a:cubicBezTo>
                <a:lnTo>
                  <a:pt x="219199" y="6856200"/>
                </a:lnTo>
                <a:cubicBezTo>
                  <a:pt x="97298" y="6872316"/>
                  <a:pt x="5915" y="6780934"/>
                  <a:pt x="600" y="6659032"/>
                </a:cubicBezTo>
                <a:close/>
                <a:moveTo>
                  <a:pt x="755752" y="0"/>
                </a:moveTo>
                <a:lnTo>
                  <a:pt x="1142543" y="0"/>
                </a:lnTo>
                <a:lnTo>
                  <a:pt x="1142543" y="759352"/>
                </a:lnTo>
                <a:lnTo>
                  <a:pt x="755752" y="759352"/>
                </a:lnTo>
                <a:lnTo>
                  <a:pt x="755752" y="0"/>
                </a:lnTo>
                <a:close/>
                <a:moveTo>
                  <a:pt x="5332952" y="0"/>
                </a:moveTo>
                <a:lnTo>
                  <a:pt x="5713314" y="0"/>
                </a:lnTo>
                <a:lnTo>
                  <a:pt x="5713314" y="759352"/>
                </a:lnTo>
                <a:lnTo>
                  <a:pt x="5332952" y="759352"/>
                </a:lnTo>
                <a:cubicBezTo>
                  <a:pt x="5332952" y="759352"/>
                  <a:pt x="5332952" y="0"/>
                  <a:pt x="5332952" y="0"/>
                </a:cubicBezTo>
                <a:close/>
                <a:moveTo>
                  <a:pt x="3231404" y="3035008"/>
                </a:moveTo>
                <a:cubicBezTo>
                  <a:pt x="2385212" y="3035008"/>
                  <a:pt x="1711328" y="3738982"/>
                  <a:pt x="1711328" y="4562371"/>
                </a:cubicBezTo>
                <a:cubicBezTo>
                  <a:pt x="1711328" y="5371272"/>
                  <a:pt x="2369953" y="6082446"/>
                  <a:pt x="3238691" y="6082446"/>
                </a:cubicBezTo>
                <a:cubicBezTo>
                  <a:pt x="4084882" y="6082446"/>
                  <a:pt x="4758766" y="5408562"/>
                  <a:pt x="4758766" y="4562371"/>
                </a:cubicBezTo>
                <a:cubicBezTo>
                  <a:pt x="4758766" y="3738810"/>
                  <a:pt x="4107342" y="3035008"/>
                  <a:pt x="3231404" y="3035008"/>
                </a:cubicBezTo>
                <a:close/>
                <a:moveTo>
                  <a:pt x="3812705" y="4006787"/>
                </a:moveTo>
                <a:cubicBezTo>
                  <a:pt x="3695948" y="3920719"/>
                  <a:pt x="3563760" y="3881800"/>
                  <a:pt x="3431572" y="3881800"/>
                </a:cubicBezTo>
                <a:cubicBezTo>
                  <a:pt x="3213830" y="3881800"/>
                  <a:pt x="3034836" y="4006787"/>
                  <a:pt x="2941482" y="4216041"/>
                </a:cubicBezTo>
                <a:lnTo>
                  <a:pt x="3501266" y="4216041"/>
                </a:lnTo>
                <a:lnTo>
                  <a:pt x="3454632" y="4472788"/>
                </a:lnTo>
                <a:lnTo>
                  <a:pt x="2886875" y="4472788"/>
                </a:lnTo>
                <a:lnTo>
                  <a:pt x="2879246" y="4558341"/>
                </a:lnTo>
                <a:lnTo>
                  <a:pt x="2886875" y="4659668"/>
                </a:lnTo>
                <a:lnTo>
                  <a:pt x="3423599" y="4659668"/>
                </a:lnTo>
                <a:lnTo>
                  <a:pt x="3377137" y="4908614"/>
                </a:lnTo>
                <a:lnTo>
                  <a:pt x="2949369" y="4908614"/>
                </a:lnTo>
                <a:cubicBezTo>
                  <a:pt x="3042895" y="5118726"/>
                  <a:pt x="3213745" y="5242684"/>
                  <a:pt x="3431400" y="5242684"/>
                </a:cubicBezTo>
                <a:cubicBezTo>
                  <a:pt x="3563588" y="5242684"/>
                  <a:pt x="3695776" y="5196050"/>
                  <a:pt x="3812534" y="5110325"/>
                </a:cubicBezTo>
                <a:lnTo>
                  <a:pt x="3812534" y="5515033"/>
                </a:lnTo>
                <a:cubicBezTo>
                  <a:pt x="3695776" y="5577354"/>
                  <a:pt x="3563588" y="5608558"/>
                  <a:pt x="3408169" y="5608558"/>
                </a:cubicBezTo>
                <a:cubicBezTo>
                  <a:pt x="2980401" y="5608558"/>
                  <a:pt x="2638273" y="5343840"/>
                  <a:pt x="2521601" y="4908614"/>
                </a:cubicBezTo>
                <a:lnTo>
                  <a:pt x="2319290" y="4908614"/>
                </a:lnTo>
                <a:lnTo>
                  <a:pt x="2319290" y="4659668"/>
                </a:lnTo>
                <a:lnTo>
                  <a:pt x="2482682" y="4659668"/>
                </a:lnTo>
                <a:cubicBezTo>
                  <a:pt x="2474709" y="4636008"/>
                  <a:pt x="2474709" y="4604976"/>
                  <a:pt x="2474709" y="4558341"/>
                </a:cubicBezTo>
                <a:lnTo>
                  <a:pt x="2482682" y="4472788"/>
                </a:lnTo>
                <a:lnTo>
                  <a:pt x="2319290" y="4472788"/>
                </a:lnTo>
                <a:lnTo>
                  <a:pt x="2319290" y="4216041"/>
                </a:lnTo>
                <a:lnTo>
                  <a:pt x="2521601" y="4216041"/>
                </a:lnTo>
                <a:cubicBezTo>
                  <a:pt x="2638187" y="3780987"/>
                  <a:pt x="2980401" y="3508467"/>
                  <a:pt x="3415798" y="3508467"/>
                </a:cubicBezTo>
                <a:cubicBezTo>
                  <a:pt x="3563588" y="3508467"/>
                  <a:pt x="3695605" y="3539928"/>
                  <a:pt x="3812534" y="3609623"/>
                </a:cubicBezTo>
                <a:lnTo>
                  <a:pt x="3812534" y="4006701"/>
                </a:lnTo>
                <a:lnTo>
                  <a:pt x="3812705" y="4006701"/>
                </a:lnTo>
                <a:close/>
              </a:path>
            </a:pathLst>
          </a:custGeom>
          <a:solidFill>
            <a:schemeClr val="bg1"/>
          </a:solidFill>
          <a:ln w="8567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100" dirty="0"/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3520ABA1-A4B1-3C9A-F171-91DEB19DE15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61811" y="3197213"/>
            <a:ext cx="396000" cy="364878"/>
            <a:chOff x="1036638" y="2735263"/>
            <a:chExt cx="585787" cy="539750"/>
          </a:xfrm>
          <a:solidFill>
            <a:schemeClr val="bg1"/>
          </a:solidFill>
        </p:grpSpPr>
        <p:sp>
          <p:nvSpPr>
            <p:cNvPr id="45" name="Freeform 32">
              <a:extLst>
                <a:ext uri="{FF2B5EF4-FFF2-40B4-BE49-F238E27FC236}">
                  <a16:creationId xmlns:a16="http://schemas.microsoft.com/office/drawing/2014/main" id="{34F81AD2-7676-0343-DC89-73B6D50030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6638" y="3128963"/>
              <a:ext cx="585787" cy="146050"/>
            </a:xfrm>
            <a:custGeom>
              <a:avLst/>
              <a:gdLst>
                <a:gd name="T0" fmla="*/ 16320 w 16320"/>
                <a:gd name="T1" fmla="*/ 187 h 4079"/>
                <a:gd name="T2" fmla="*/ 13974 w 16320"/>
                <a:gd name="T3" fmla="*/ 1103 h 4079"/>
                <a:gd name="T4" fmla="*/ 11075 w 16320"/>
                <a:gd name="T5" fmla="*/ 0 h 4079"/>
                <a:gd name="T6" fmla="*/ 8182 w 16320"/>
                <a:gd name="T7" fmla="*/ 1103 h 4079"/>
                <a:gd name="T8" fmla="*/ 5374 w 16320"/>
                <a:gd name="T9" fmla="*/ 48 h 4079"/>
                <a:gd name="T10" fmla="*/ 2523 w 16320"/>
                <a:gd name="T11" fmla="*/ 1103 h 4079"/>
                <a:gd name="T12" fmla="*/ 0 w 16320"/>
                <a:gd name="T13" fmla="*/ 109 h 4079"/>
                <a:gd name="T14" fmla="*/ 0 w 16320"/>
                <a:gd name="T15" fmla="*/ 3185 h 4079"/>
                <a:gd name="T16" fmla="*/ 2523 w 16320"/>
                <a:gd name="T17" fmla="*/ 4079 h 4079"/>
                <a:gd name="T18" fmla="*/ 5370 w 16320"/>
                <a:gd name="T19" fmla="*/ 3134 h 4079"/>
                <a:gd name="T20" fmla="*/ 8182 w 16320"/>
                <a:gd name="T21" fmla="*/ 4079 h 4079"/>
                <a:gd name="T22" fmla="*/ 11071 w 16320"/>
                <a:gd name="T23" fmla="*/ 3089 h 4079"/>
                <a:gd name="T24" fmla="*/ 13974 w 16320"/>
                <a:gd name="T25" fmla="*/ 4079 h 4079"/>
                <a:gd name="T26" fmla="*/ 16320 w 16320"/>
                <a:gd name="T27" fmla="*/ 3244 h 4079"/>
                <a:gd name="T28" fmla="*/ 16320 w 16320"/>
                <a:gd name="T29" fmla="*/ 187 h 4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320" h="4079">
                  <a:moveTo>
                    <a:pt x="16320" y="187"/>
                  </a:moveTo>
                  <a:cubicBezTo>
                    <a:pt x="15185" y="999"/>
                    <a:pt x="14439" y="1103"/>
                    <a:pt x="13974" y="1103"/>
                  </a:cubicBezTo>
                  <a:cubicBezTo>
                    <a:pt x="13190" y="1103"/>
                    <a:pt x="12133" y="885"/>
                    <a:pt x="11075" y="0"/>
                  </a:cubicBezTo>
                  <a:cubicBezTo>
                    <a:pt x="9994" y="886"/>
                    <a:pt x="8949" y="1103"/>
                    <a:pt x="8182" y="1103"/>
                  </a:cubicBezTo>
                  <a:cubicBezTo>
                    <a:pt x="7421" y="1103"/>
                    <a:pt x="6398" y="893"/>
                    <a:pt x="5374" y="48"/>
                  </a:cubicBezTo>
                  <a:cubicBezTo>
                    <a:pt x="4318" y="894"/>
                    <a:pt x="3284" y="1103"/>
                    <a:pt x="2523" y="1103"/>
                  </a:cubicBezTo>
                  <a:cubicBezTo>
                    <a:pt x="1533" y="1103"/>
                    <a:pt x="830" y="749"/>
                    <a:pt x="0" y="109"/>
                  </a:cubicBezTo>
                  <a:cubicBezTo>
                    <a:pt x="0" y="3185"/>
                    <a:pt x="0" y="3185"/>
                    <a:pt x="0" y="3185"/>
                  </a:cubicBezTo>
                  <a:cubicBezTo>
                    <a:pt x="840" y="3759"/>
                    <a:pt x="1542" y="4079"/>
                    <a:pt x="2523" y="4079"/>
                  </a:cubicBezTo>
                  <a:cubicBezTo>
                    <a:pt x="3533" y="4079"/>
                    <a:pt x="4497" y="3756"/>
                    <a:pt x="5370" y="3134"/>
                  </a:cubicBezTo>
                  <a:cubicBezTo>
                    <a:pt x="6222" y="3756"/>
                    <a:pt x="7174" y="4079"/>
                    <a:pt x="8182" y="4079"/>
                  </a:cubicBezTo>
                  <a:cubicBezTo>
                    <a:pt x="9200" y="4079"/>
                    <a:pt x="10180" y="3741"/>
                    <a:pt x="11071" y="3089"/>
                  </a:cubicBezTo>
                  <a:cubicBezTo>
                    <a:pt x="11951" y="3741"/>
                    <a:pt x="12933" y="4079"/>
                    <a:pt x="13974" y="4079"/>
                  </a:cubicBezTo>
                  <a:cubicBezTo>
                    <a:pt x="14974" y="4079"/>
                    <a:pt x="15544" y="3759"/>
                    <a:pt x="16320" y="3244"/>
                  </a:cubicBezTo>
                  <a:lnTo>
                    <a:pt x="16320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6" name="Freeform 33">
              <a:extLst>
                <a:ext uri="{FF2B5EF4-FFF2-40B4-BE49-F238E27FC236}">
                  <a16:creationId xmlns:a16="http://schemas.microsoft.com/office/drawing/2014/main" id="{EDC8A243-4585-3964-77FF-BC5E17124305}"/>
                </a:ext>
              </a:extLst>
            </p:cNvPr>
            <p:cNvSpPr>
              <a:spLocks/>
            </p:cNvSpPr>
            <p:nvPr/>
          </p:nvSpPr>
          <p:spPr bwMode="gray">
            <a:xfrm>
              <a:off x="1309688" y="2735263"/>
              <a:ext cx="39687" cy="85725"/>
            </a:xfrm>
            <a:custGeom>
              <a:avLst/>
              <a:gdLst>
                <a:gd name="T0" fmla="*/ 25 w 25"/>
                <a:gd name="T1" fmla="*/ 54 h 54"/>
                <a:gd name="T2" fmla="*/ 0 w 25"/>
                <a:gd name="T3" fmla="*/ 54 h 54"/>
                <a:gd name="T4" fmla="*/ 0 w 25"/>
                <a:gd name="T5" fmla="*/ 0 h 54"/>
                <a:gd name="T6" fmla="*/ 25 w 25"/>
                <a:gd name="T7" fmla="*/ 0 h 54"/>
                <a:gd name="T8" fmla="*/ 25 w 25"/>
                <a:gd name="T9" fmla="*/ 54 h 54"/>
                <a:gd name="T10" fmla="*/ 25 w 25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54">
                  <a:moveTo>
                    <a:pt x="25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54"/>
                  </a:lnTo>
                  <a:lnTo>
                    <a:pt x="25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4D19B801-B9D9-FC62-57E8-4838F1DEF1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3475" y="2776538"/>
              <a:ext cx="79375" cy="92075"/>
            </a:xfrm>
            <a:custGeom>
              <a:avLst/>
              <a:gdLst>
                <a:gd name="T0" fmla="*/ 30 w 50"/>
                <a:gd name="T1" fmla="*/ 58 h 58"/>
                <a:gd name="T2" fmla="*/ 0 w 50"/>
                <a:gd name="T3" fmla="*/ 13 h 58"/>
                <a:gd name="T4" fmla="*/ 21 w 50"/>
                <a:gd name="T5" fmla="*/ 0 h 58"/>
                <a:gd name="T6" fmla="*/ 50 w 50"/>
                <a:gd name="T7" fmla="*/ 45 h 58"/>
                <a:gd name="T8" fmla="*/ 30 w 50"/>
                <a:gd name="T9" fmla="*/ 58 h 58"/>
                <a:gd name="T10" fmla="*/ 30 w 50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58">
                  <a:moveTo>
                    <a:pt x="30" y="58"/>
                  </a:moveTo>
                  <a:lnTo>
                    <a:pt x="0" y="13"/>
                  </a:lnTo>
                  <a:lnTo>
                    <a:pt x="21" y="0"/>
                  </a:lnTo>
                  <a:lnTo>
                    <a:pt x="50" y="45"/>
                  </a:lnTo>
                  <a:lnTo>
                    <a:pt x="30" y="58"/>
                  </a:lnTo>
                  <a:lnTo>
                    <a:pt x="3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8" name="Freeform 35">
              <a:extLst>
                <a:ext uri="{FF2B5EF4-FFF2-40B4-BE49-F238E27FC236}">
                  <a16:creationId xmlns:a16="http://schemas.microsoft.com/office/drawing/2014/main" id="{D2CCBA9D-2BE8-1E1C-C3A6-5812FA963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6638" y="2903538"/>
              <a:ext cx="95250" cy="66675"/>
            </a:xfrm>
            <a:custGeom>
              <a:avLst/>
              <a:gdLst>
                <a:gd name="T0" fmla="*/ 0 w 60"/>
                <a:gd name="T1" fmla="*/ 22 h 42"/>
                <a:gd name="T2" fmla="*/ 51 w 60"/>
                <a:gd name="T3" fmla="*/ 42 h 42"/>
                <a:gd name="T4" fmla="*/ 60 w 60"/>
                <a:gd name="T5" fmla="*/ 19 h 42"/>
                <a:gd name="T6" fmla="*/ 9 w 60"/>
                <a:gd name="T7" fmla="*/ 0 h 42"/>
                <a:gd name="T8" fmla="*/ 0 w 60"/>
                <a:gd name="T9" fmla="*/ 22 h 42"/>
                <a:gd name="T10" fmla="*/ 0 w 60"/>
                <a:gd name="T11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2">
                  <a:moveTo>
                    <a:pt x="0" y="22"/>
                  </a:moveTo>
                  <a:lnTo>
                    <a:pt x="51" y="42"/>
                  </a:lnTo>
                  <a:lnTo>
                    <a:pt x="60" y="19"/>
                  </a:lnTo>
                  <a:lnTo>
                    <a:pt x="9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913E0E6F-8A60-DE19-245B-4B6BD982951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4113" y="2868613"/>
              <a:ext cx="350837" cy="174625"/>
            </a:xfrm>
            <a:custGeom>
              <a:avLst/>
              <a:gdLst>
                <a:gd name="T0" fmla="*/ 8707 w 9787"/>
                <a:gd name="T1" fmla="*/ 4890 h 4890"/>
                <a:gd name="T2" fmla="*/ 4893 w 9787"/>
                <a:gd name="T3" fmla="*/ 1079 h 4890"/>
                <a:gd name="T4" fmla="*/ 1080 w 9787"/>
                <a:gd name="T5" fmla="*/ 4890 h 4890"/>
                <a:gd name="T6" fmla="*/ 0 w 9787"/>
                <a:gd name="T7" fmla="*/ 4889 h 4890"/>
                <a:gd name="T8" fmla="*/ 4893 w 9787"/>
                <a:gd name="T9" fmla="*/ 0 h 4890"/>
                <a:gd name="T10" fmla="*/ 9787 w 9787"/>
                <a:gd name="T11" fmla="*/ 4889 h 4890"/>
                <a:gd name="T12" fmla="*/ 8707 w 9787"/>
                <a:gd name="T13" fmla="*/ 4890 h 4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87" h="4890">
                  <a:moveTo>
                    <a:pt x="8707" y="4890"/>
                  </a:moveTo>
                  <a:cubicBezTo>
                    <a:pt x="8704" y="2789"/>
                    <a:pt x="6994" y="1079"/>
                    <a:pt x="4893" y="1079"/>
                  </a:cubicBezTo>
                  <a:cubicBezTo>
                    <a:pt x="2792" y="1079"/>
                    <a:pt x="1082" y="2789"/>
                    <a:pt x="1080" y="4890"/>
                  </a:cubicBezTo>
                  <a:cubicBezTo>
                    <a:pt x="0" y="4889"/>
                    <a:pt x="0" y="4889"/>
                    <a:pt x="0" y="4889"/>
                  </a:cubicBezTo>
                  <a:cubicBezTo>
                    <a:pt x="2" y="2193"/>
                    <a:pt x="2198" y="0"/>
                    <a:pt x="4893" y="0"/>
                  </a:cubicBezTo>
                  <a:cubicBezTo>
                    <a:pt x="7590" y="0"/>
                    <a:pt x="9784" y="2193"/>
                    <a:pt x="9787" y="4889"/>
                  </a:cubicBezTo>
                  <a:lnTo>
                    <a:pt x="8707" y="48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8DBF75EF-821C-ACA7-C63E-80A4B16F7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7800" y="2776538"/>
              <a:ext cx="77787" cy="92075"/>
            </a:xfrm>
            <a:custGeom>
              <a:avLst/>
              <a:gdLst>
                <a:gd name="T0" fmla="*/ 20 w 49"/>
                <a:gd name="T1" fmla="*/ 58 h 58"/>
                <a:gd name="T2" fmla="*/ 0 w 49"/>
                <a:gd name="T3" fmla="*/ 45 h 58"/>
                <a:gd name="T4" fmla="*/ 29 w 49"/>
                <a:gd name="T5" fmla="*/ 0 h 58"/>
                <a:gd name="T6" fmla="*/ 49 w 49"/>
                <a:gd name="T7" fmla="*/ 13 h 58"/>
                <a:gd name="T8" fmla="*/ 20 w 49"/>
                <a:gd name="T9" fmla="*/ 58 h 58"/>
                <a:gd name="T10" fmla="*/ 20 w 49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58">
                  <a:moveTo>
                    <a:pt x="20" y="58"/>
                  </a:moveTo>
                  <a:lnTo>
                    <a:pt x="0" y="45"/>
                  </a:lnTo>
                  <a:lnTo>
                    <a:pt x="29" y="0"/>
                  </a:lnTo>
                  <a:lnTo>
                    <a:pt x="49" y="13"/>
                  </a:lnTo>
                  <a:lnTo>
                    <a:pt x="20" y="58"/>
                  </a:lnTo>
                  <a:lnTo>
                    <a:pt x="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1" name="Freeform 38">
              <a:extLst>
                <a:ext uri="{FF2B5EF4-FFF2-40B4-BE49-F238E27FC236}">
                  <a16:creationId xmlns:a16="http://schemas.microsoft.com/office/drawing/2014/main" id="{3130D6E4-54BC-2E80-B829-0E1051771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7175" y="2903538"/>
              <a:ext cx="93662" cy="66675"/>
            </a:xfrm>
            <a:custGeom>
              <a:avLst/>
              <a:gdLst>
                <a:gd name="T0" fmla="*/ 8 w 59"/>
                <a:gd name="T1" fmla="*/ 42 h 42"/>
                <a:gd name="T2" fmla="*/ 59 w 59"/>
                <a:gd name="T3" fmla="*/ 23 h 42"/>
                <a:gd name="T4" fmla="*/ 50 w 59"/>
                <a:gd name="T5" fmla="*/ 0 h 42"/>
                <a:gd name="T6" fmla="*/ 0 w 59"/>
                <a:gd name="T7" fmla="*/ 19 h 42"/>
                <a:gd name="T8" fmla="*/ 8 w 59"/>
                <a:gd name="T9" fmla="*/ 42 h 42"/>
                <a:gd name="T10" fmla="*/ 8 w 59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2">
                  <a:moveTo>
                    <a:pt x="8" y="42"/>
                  </a:moveTo>
                  <a:lnTo>
                    <a:pt x="59" y="23"/>
                  </a:lnTo>
                  <a:lnTo>
                    <a:pt x="50" y="0"/>
                  </a:lnTo>
                  <a:lnTo>
                    <a:pt x="0" y="19"/>
                  </a:lnTo>
                  <a:lnTo>
                    <a:pt x="8" y="42"/>
                  </a:ln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86C05168-B09E-CBF5-219B-8909FB3212E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18769" y="2415965"/>
            <a:ext cx="360000" cy="374128"/>
            <a:chOff x="7651299" y="892097"/>
            <a:chExt cx="522979" cy="543504"/>
          </a:xfrm>
          <a:solidFill>
            <a:schemeClr val="bg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7A055557-19AA-B9FD-9BE4-EB002DBF53F0}"/>
                </a:ext>
              </a:extLst>
            </p:cNvPr>
            <p:cNvSpPr>
              <a:spLocks/>
            </p:cNvSpPr>
            <p:nvPr/>
          </p:nvSpPr>
          <p:spPr bwMode="gray">
            <a:xfrm>
              <a:off x="7651299" y="947309"/>
              <a:ext cx="522979" cy="488292"/>
            </a:xfrm>
            <a:custGeom>
              <a:avLst/>
              <a:gdLst>
                <a:gd name="connsiteX0" fmla="*/ 135489 w 522979"/>
                <a:gd name="connsiteY0" fmla="*/ 0 h 488292"/>
                <a:gd name="connsiteX1" fmla="*/ 135489 w 522979"/>
                <a:gd name="connsiteY1" fmla="*/ 108898 h 488292"/>
                <a:gd name="connsiteX2" fmla="*/ 100547 w 522979"/>
                <a:gd name="connsiteY2" fmla="*/ 162035 h 488292"/>
                <a:gd name="connsiteX3" fmla="*/ 138460 w 522979"/>
                <a:gd name="connsiteY3" fmla="*/ 350051 h 488292"/>
                <a:gd name="connsiteX4" fmla="*/ 384520 w 522979"/>
                <a:gd name="connsiteY4" fmla="*/ 350051 h 488292"/>
                <a:gd name="connsiteX5" fmla="*/ 422434 w 522979"/>
                <a:gd name="connsiteY5" fmla="*/ 162035 h 488292"/>
                <a:gd name="connsiteX6" fmla="*/ 387489 w 522979"/>
                <a:gd name="connsiteY6" fmla="*/ 108895 h 488292"/>
                <a:gd name="connsiteX7" fmla="*/ 387489 w 522979"/>
                <a:gd name="connsiteY7" fmla="*/ 1159 h 488292"/>
                <a:gd name="connsiteX8" fmla="*/ 446238 w 522979"/>
                <a:gd name="connsiteY8" fmla="*/ 42759 h 488292"/>
                <a:gd name="connsiteX9" fmla="*/ 446238 w 522979"/>
                <a:gd name="connsiteY9" fmla="*/ 411672 h 488292"/>
                <a:gd name="connsiteX10" fmla="*/ 76742 w 522979"/>
                <a:gd name="connsiteY10" fmla="*/ 411672 h 488292"/>
                <a:gd name="connsiteX11" fmla="*/ 76742 w 522979"/>
                <a:gd name="connsiteY11" fmla="*/ 42759 h 488292"/>
                <a:gd name="connsiteX12" fmla="*/ 125670 w 522979"/>
                <a:gd name="connsiteY12" fmla="*/ 4449 h 488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2979" h="488292">
                  <a:moveTo>
                    <a:pt x="135489" y="0"/>
                  </a:moveTo>
                  <a:lnTo>
                    <a:pt x="135489" y="108898"/>
                  </a:lnTo>
                  <a:lnTo>
                    <a:pt x="100547" y="162035"/>
                  </a:lnTo>
                  <a:cubicBezTo>
                    <a:pt x="75271" y="224935"/>
                    <a:pt x="87909" y="299579"/>
                    <a:pt x="138460" y="350051"/>
                  </a:cubicBezTo>
                  <a:cubicBezTo>
                    <a:pt x="206675" y="417347"/>
                    <a:pt x="317118" y="417347"/>
                    <a:pt x="384520" y="350051"/>
                  </a:cubicBezTo>
                  <a:cubicBezTo>
                    <a:pt x="435073" y="299579"/>
                    <a:pt x="447711" y="224935"/>
                    <a:pt x="422434" y="162035"/>
                  </a:cubicBezTo>
                  <a:lnTo>
                    <a:pt x="387489" y="108895"/>
                  </a:lnTo>
                  <a:lnTo>
                    <a:pt x="387489" y="1159"/>
                  </a:lnTo>
                  <a:lnTo>
                    <a:pt x="446238" y="42759"/>
                  </a:lnTo>
                  <a:cubicBezTo>
                    <a:pt x="548560" y="144920"/>
                    <a:pt x="548560" y="310322"/>
                    <a:pt x="446238" y="411672"/>
                  </a:cubicBezTo>
                  <a:cubicBezTo>
                    <a:pt x="344728" y="513832"/>
                    <a:pt x="179064" y="513832"/>
                    <a:pt x="76742" y="411672"/>
                  </a:cubicBezTo>
                  <a:cubicBezTo>
                    <a:pt x="-25580" y="310322"/>
                    <a:pt x="-25580" y="144920"/>
                    <a:pt x="76742" y="42759"/>
                  </a:cubicBezTo>
                  <a:cubicBezTo>
                    <a:pt x="91766" y="27760"/>
                    <a:pt x="108210" y="14990"/>
                    <a:pt x="125670" y="4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100" dirty="0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56E86E02-58A9-7CA6-64CD-C0D8856606C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65374" y="1133659"/>
              <a:ext cx="41424" cy="85952"/>
            </a:xfrm>
            <a:custGeom>
              <a:avLst/>
              <a:gdLst>
                <a:gd name="T0" fmla="*/ 307 w 307"/>
                <a:gd name="T1" fmla="*/ 637 h 637"/>
                <a:gd name="T2" fmla="*/ 150 w 307"/>
                <a:gd name="T3" fmla="*/ 637 h 637"/>
                <a:gd name="T4" fmla="*/ 150 w 307"/>
                <a:gd name="T5" fmla="*/ 180 h 637"/>
                <a:gd name="T6" fmla="*/ 0 w 307"/>
                <a:gd name="T7" fmla="*/ 252 h 637"/>
                <a:gd name="T8" fmla="*/ 0 w 307"/>
                <a:gd name="T9" fmla="*/ 90 h 637"/>
                <a:gd name="T10" fmla="*/ 198 w 307"/>
                <a:gd name="T11" fmla="*/ 0 h 637"/>
                <a:gd name="T12" fmla="*/ 307 w 307"/>
                <a:gd name="T13" fmla="*/ 0 h 637"/>
                <a:gd name="T14" fmla="*/ 307 w 307"/>
                <a:gd name="T15" fmla="*/ 63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" h="637">
                  <a:moveTo>
                    <a:pt x="307" y="637"/>
                  </a:moveTo>
                  <a:lnTo>
                    <a:pt x="150" y="637"/>
                  </a:lnTo>
                  <a:lnTo>
                    <a:pt x="150" y="180"/>
                  </a:lnTo>
                  <a:lnTo>
                    <a:pt x="0" y="252"/>
                  </a:lnTo>
                  <a:lnTo>
                    <a:pt x="0" y="90"/>
                  </a:lnTo>
                  <a:lnTo>
                    <a:pt x="198" y="0"/>
                  </a:lnTo>
                  <a:lnTo>
                    <a:pt x="307" y="0"/>
                  </a:lnTo>
                  <a:lnTo>
                    <a:pt x="307" y="6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AF90017A-B565-820C-FF33-8B9DB3AFF74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18132" y="1132040"/>
              <a:ext cx="71515" cy="88381"/>
            </a:xfrm>
            <a:custGeom>
              <a:avLst/>
              <a:gdLst>
                <a:gd name="T0" fmla="*/ 0 w 88"/>
                <a:gd name="T1" fmla="*/ 55 h 109"/>
                <a:gd name="T2" fmla="*/ 44 w 88"/>
                <a:gd name="T3" fmla="*/ 0 h 109"/>
                <a:gd name="T4" fmla="*/ 88 w 88"/>
                <a:gd name="T5" fmla="*/ 55 h 109"/>
                <a:gd name="T6" fmla="*/ 44 w 88"/>
                <a:gd name="T7" fmla="*/ 109 h 109"/>
                <a:gd name="T8" fmla="*/ 0 w 88"/>
                <a:gd name="T9" fmla="*/ 55 h 109"/>
                <a:gd name="T10" fmla="*/ 27 w 88"/>
                <a:gd name="T11" fmla="*/ 55 h 109"/>
                <a:gd name="T12" fmla="*/ 44 w 88"/>
                <a:gd name="T13" fmla="*/ 85 h 109"/>
                <a:gd name="T14" fmla="*/ 61 w 88"/>
                <a:gd name="T15" fmla="*/ 55 h 109"/>
                <a:gd name="T16" fmla="*/ 44 w 88"/>
                <a:gd name="T17" fmla="*/ 24 h 109"/>
                <a:gd name="T18" fmla="*/ 27 w 88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109">
                  <a:moveTo>
                    <a:pt x="0" y="55"/>
                  </a:moveTo>
                  <a:cubicBezTo>
                    <a:pt x="0" y="22"/>
                    <a:pt x="18" y="0"/>
                    <a:pt x="44" y="0"/>
                  </a:cubicBezTo>
                  <a:cubicBezTo>
                    <a:pt x="70" y="0"/>
                    <a:pt x="88" y="22"/>
                    <a:pt x="88" y="55"/>
                  </a:cubicBezTo>
                  <a:cubicBezTo>
                    <a:pt x="88" y="87"/>
                    <a:pt x="70" y="109"/>
                    <a:pt x="44" y="109"/>
                  </a:cubicBezTo>
                  <a:cubicBezTo>
                    <a:pt x="18" y="109"/>
                    <a:pt x="0" y="87"/>
                    <a:pt x="0" y="55"/>
                  </a:cubicBezTo>
                  <a:close/>
                  <a:moveTo>
                    <a:pt x="27" y="55"/>
                  </a:moveTo>
                  <a:cubicBezTo>
                    <a:pt x="27" y="71"/>
                    <a:pt x="32" y="85"/>
                    <a:pt x="44" y="85"/>
                  </a:cubicBezTo>
                  <a:cubicBezTo>
                    <a:pt x="56" y="85"/>
                    <a:pt x="61" y="71"/>
                    <a:pt x="61" y="55"/>
                  </a:cubicBezTo>
                  <a:cubicBezTo>
                    <a:pt x="61" y="38"/>
                    <a:pt x="56" y="24"/>
                    <a:pt x="44" y="24"/>
                  </a:cubicBezTo>
                  <a:cubicBezTo>
                    <a:pt x="32" y="24"/>
                    <a:pt x="27" y="38"/>
                    <a:pt x="2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CF2100B8-1FAD-2A6C-D69B-6B837566D6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96933" y="1132040"/>
              <a:ext cx="70570" cy="88381"/>
            </a:xfrm>
            <a:custGeom>
              <a:avLst/>
              <a:gdLst>
                <a:gd name="T0" fmla="*/ 0 w 87"/>
                <a:gd name="T1" fmla="*/ 55 h 109"/>
                <a:gd name="T2" fmla="*/ 43 w 87"/>
                <a:gd name="T3" fmla="*/ 0 h 109"/>
                <a:gd name="T4" fmla="*/ 87 w 87"/>
                <a:gd name="T5" fmla="*/ 55 h 109"/>
                <a:gd name="T6" fmla="*/ 43 w 87"/>
                <a:gd name="T7" fmla="*/ 109 h 109"/>
                <a:gd name="T8" fmla="*/ 0 w 87"/>
                <a:gd name="T9" fmla="*/ 55 h 109"/>
                <a:gd name="T10" fmla="*/ 26 w 87"/>
                <a:gd name="T11" fmla="*/ 55 h 109"/>
                <a:gd name="T12" fmla="*/ 43 w 87"/>
                <a:gd name="T13" fmla="*/ 85 h 109"/>
                <a:gd name="T14" fmla="*/ 60 w 87"/>
                <a:gd name="T15" fmla="*/ 55 h 109"/>
                <a:gd name="T16" fmla="*/ 43 w 87"/>
                <a:gd name="T17" fmla="*/ 24 h 109"/>
                <a:gd name="T18" fmla="*/ 26 w 87"/>
                <a:gd name="T1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9">
                  <a:moveTo>
                    <a:pt x="0" y="55"/>
                  </a:moveTo>
                  <a:cubicBezTo>
                    <a:pt x="0" y="22"/>
                    <a:pt x="17" y="0"/>
                    <a:pt x="43" y="0"/>
                  </a:cubicBezTo>
                  <a:cubicBezTo>
                    <a:pt x="69" y="0"/>
                    <a:pt x="87" y="22"/>
                    <a:pt x="87" y="55"/>
                  </a:cubicBezTo>
                  <a:cubicBezTo>
                    <a:pt x="87" y="87"/>
                    <a:pt x="69" y="109"/>
                    <a:pt x="43" y="109"/>
                  </a:cubicBezTo>
                  <a:cubicBezTo>
                    <a:pt x="17" y="109"/>
                    <a:pt x="0" y="87"/>
                    <a:pt x="0" y="55"/>
                  </a:cubicBezTo>
                  <a:close/>
                  <a:moveTo>
                    <a:pt x="26" y="55"/>
                  </a:moveTo>
                  <a:cubicBezTo>
                    <a:pt x="26" y="71"/>
                    <a:pt x="31" y="85"/>
                    <a:pt x="43" y="85"/>
                  </a:cubicBezTo>
                  <a:cubicBezTo>
                    <a:pt x="56" y="85"/>
                    <a:pt x="60" y="71"/>
                    <a:pt x="60" y="55"/>
                  </a:cubicBezTo>
                  <a:cubicBezTo>
                    <a:pt x="60" y="38"/>
                    <a:pt x="56" y="24"/>
                    <a:pt x="43" y="24"/>
                  </a:cubicBezTo>
                  <a:cubicBezTo>
                    <a:pt x="31" y="24"/>
                    <a:pt x="26" y="38"/>
                    <a:pt x="2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F8018396-CA97-623B-B1A7-106F7150DA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74790" y="1132040"/>
              <a:ext cx="88651" cy="88381"/>
            </a:xfrm>
            <a:custGeom>
              <a:avLst/>
              <a:gdLst>
                <a:gd name="T0" fmla="*/ 25 w 109"/>
                <a:gd name="T1" fmla="*/ 50 h 109"/>
                <a:gd name="T2" fmla="*/ 0 w 109"/>
                <a:gd name="T3" fmla="*/ 25 h 109"/>
                <a:gd name="T4" fmla="*/ 25 w 109"/>
                <a:gd name="T5" fmla="*/ 0 h 109"/>
                <a:gd name="T6" fmla="*/ 50 w 109"/>
                <a:gd name="T7" fmla="*/ 25 h 109"/>
                <a:gd name="T8" fmla="*/ 25 w 109"/>
                <a:gd name="T9" fmla="*/ 50 h 109"/>
                <a:gd name="T10" fmla="*/ 80 w 109"/>
                <a:gd name="T11" fmla="*/ 2 h 109"/>
                <a:gd name="T12" fmla="*/ 96 w 109"/>
                <a:gd name="T13" fmla="*/ 2 h 109"/>
                <a:gd name="T14" fmla="*/ 28 w 109"/>
                <a:gd name="T15" fmla="*/ 108 h 109"/>
                <a:gd name="T16" fmla="*/ 12 w 109"/>
                <a:gd name="T17" fmla="*/ 108 h 109"/>
                <a:gd name="T18" fmla="*/ 80 w 109"/>
                <a:gd name="T19" fmla="*/ 2 h 109"/>
                <a:gd name="T20" fmla="*/ 25 w 109"/>
                <a:gd name="T21" fmla="*/ 34 h 109"/>
                <a:gd name="T22" fmla="*/ 34 w 109"/>
                <a:gd name="T23" fmla="*/ 25 h 109"/>
                <a:gd name="T24" fmla="*/ 25 w 109"/>
                <a:gd name="T25" fmla="*/ 16 h 109"/>
                <a:gd name="T26" fmla="*/ 16 w 109"/>
                <a:gd name="T27" fmla="*/ 25 h 109"/>
                <a:gd name="T28" fmla="*/ 25 w 109"/>
                <a:gd name="T29" fmla="*/ 34 h 109"/>
                <a:gd name="T30" fmla="*/ 84 w 109"/>
                <a:gd name="T31" fmla="*/ 109 h 109"/>
                <a:gd name="T32" fmla="*/ 58 w 109"/>
                <a:gd name="T33" fmla="*/ 84 h 109"/>
                <a:gd name="T34" fmla="*/ 84 w 109"/>
                <a:gd name="T35" fmla="*/ 59 h 109"/>
                <a:gd name="T36" fmla="*/ 109 w 109"/>
                <a:gd name="T37" fmla="*/ 84 h 109"/>
                <a:gd name="T38" fmla="*/ 84 w 109"/>
                <a:gd name="T39" fmla="*/ 109 h 109"/>
                <a:gd name="T40" fmla="*/ 84 w 109"/>
                <a:gd name="T41" fmla="*/ 75 h 109"/>
                <a:gd name="T42" fmla="*/ 74 w 109"/>
                <a:gd name="T43" fmla="*/ 84 h 109"/>
                <a:gd name="T44" fmla="*/ 84 w 109"/>
                <a:gd name="T45" fmla="*/ 93 h 109"/>
                <a:gd name="T46" fmla="*/ 93 w 109"/>
                <a:gd name="T47" fmla="*/ 84 h 109"/>
                <a:gd name="T48" fmla="*/ 84 w 109"/>
                <a:gd name="T49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" h="109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80" y="2"/>
                  </a:moveTo>
                  <a:cubicBezTo>
                    <a:pt x="96" y="2"/>
                    <a:pt x="96" y="2"/>
                    <a:pt x="96" y="2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12" y="108"/>
                    <a:pt x="12" y="108"/>
                    <a:pt x="12" y="108"/>
                  </a:cubicBezTo>
                  <a:lnTo>
                    <a:pt x="80" y="2"/>
                  </a:lnTo>
                  <a:close/>
                  <a:moveTo>
                    <a:pt x="25" y="34"/>
                  </a:move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lose/>
                  <a:moveTo>
                    <a:pt x="84" y="109"/>
                  </a:moveTo>
                  <a:cubicBezTo>
                    <a:pt x="69" y="109"/>
                    <a:pt x="58" y="98"/>
                    <a:pt x="58" y="84"/>
                  </a:cubicBezTo>
                  <a:cubicBezTo>
                    <a:pt x="58" y="70"/>
                    <a:pt x="69" y="59"/>
                    <a:pt x="84" y="59"/>
                  </a:cubicBezTo>
                  <a:cubicBezTo>
                    <a:pt x="98" y="59"/>
                    <a:pt x="109" y="70"/>
                    <a:pt x="109" y="84"/>
                  </a:cubicBezTo>
                  <a:cubicBezTo>
                    <a:pt x="109" y="98"/>
                    <a:pt x="98" y="109"/>
                    <a:pt x="84" y="109"/>
                  </a:cubicBezTo>
                  <a:close/>
                  <a:moveTo>
                    <a:pt x="84" y="75"/>
                  </a:moveTo>
                  <a:cubicBezTo>
                    <a:pt x="78" y="75"/>
                    <a:pt x="74" y="79"/>
                    <a:pt x="74" y="84"/>
                  </a:cubicBezTo>
                  <a:cubicBezTo>
                    <a:pt x="74" y="89"/>
                    <a:pt x="78" y="93"/>
                    <a:pt x="84" y="93"/>
                  </a:cubicBezTo>
                  <a:cubicBezTo>
                    <a:pt x="89" y="93"/>
                    <a:pt x="93" y="89"/>
                    <a:pt x="93" y="84"/>
                  </a:cubicBezTo>
                  <a:cubicBezTo>
                    <a:pt x="93" y="79"/>
                    <a:pt x="89" y="75"/>
                    <a:pt x="84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00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D444243-38E1-5C9C-D01A-C8EE2C5ECFA5}"/>
                </a:ext>
              </a:extLst>
            </p:cNvPr>
            <p:cNvSpPr/>
            <p:nvPr/>
          </p:nvSpPr>
          <p:spPr bwMode="gray">
            <a:xfrm>
              <a:off x="7820125" y="892097"/>
              <a:ext cx="185327" cy="185327"/>
            </a:xfrm>
            <a:custGeom>
              <a:avLst/>
              <a:gdLst>
                <a:gd name="connsiteX0" fmla="*/ 2027206 w 3114675"/>
                <a:gd name="connsiteY0" fmla="*/ 1091565 h 3114675"/>
                <a:gd name="connsiteX1" fmla="*/ 2027206 w 3114675"/>
                <a:gd name="connsiteY1" fmla="*/ 0 h 3114675"/>
                <a:gd name="connsiteX2" fmla="*/ 1091565 w 3114675"/>
                <a:gd name="connsiteY2" fmla="*/ 0 h 3114675"/>
                <a:gd name="connsiteX3" fmla="*/ 1091565 w 3114675"/>
                <a:gd name="connsiteY3" fmla="*/ 1091565 h 3114675"/>
                <a:gd name="connsiteX4" fmla="*/ 0 w 3114675"/>
                <a:gd name="connsiteY4" fmla="*/ 1091565 h 3114675"/>
                <a:gd name="connsiteX5" fmla="*/ 0 w 3114675"/>
                <a:gd name="connsiteY5" fmla="*/ 2027206 h 3114675"/>
                <a:gd name="connsiteX6" fmla="*/ 1078897 w 3114675"/>
                <a:gd name="connsiteY6" fmla="*/ 2027206 h 3114675"/>
                <a:gd name="connsiteX7" fmla="*/ 1078897 w 3114675"/>
                <a:gd name="connsiteY7" fmla="*/ 3118771 h 3114675"/>
                <a:gd name="connsiteX8" fmla="*/ 2027206 w 3114675"/>
                <a:gd name="connsiteY8" fmla="*/ 3118771 h 3114675"/>
                <a:gd name="connsiteX9" fmla="*/ 2027206 w 3114675"/>
                <a:gd name="connsiteY9" fmla="*/ 2027206 h 3114675"/>
                <a:gd name="connsiteX10" fmla="*/ 3118771 w 3114675"/>
                <a:gd name="connsiteY10" fmla="*/ 2027206 h 3114675"/>
                <a:gd name="connsiteX11" fmla="*/ 3118771 w 3114675"/>
                <a:gd name="connsiteY11" fmla="*/ 1091565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14675" h="3114675">
                  <a:moveTo>
                    <a:pt x="2027206" y="1091565"/>
                  </a:moveTo>
                  <a:lnTo>
                    <a:pt x="2027206" y="0"/>
                  </a:lnTo>
                  <a:lnTo>
                    <a:pt x="1091565" y="0"/>
                  </a:lnTo>
                  <a:lnTo>
                    <a:pt x="1091565" y="1091565"/>
                  </a:lnTo>
                  <a:lnTo>
                    <a:pt x="0" y="1091565"/>
                  </a:lnTo>
                  <a:lnTo>
                    <a:pt x="0" y="2027206"/>
                  </a:lnTo>
                  <a:lnTo>
                    <a:pt x="1078897" y="2027206"/>
                  </a:lnTo>
                  <a:lnTo>
                    <a:pt x="1078897" y="3118771"/>
                  </a:lnTo>
                  <a:lnTo>
                    <a:pt x="2027206" y="3118771"/>
                  </a:lnTo>
                  <a:lnTo>
                    <a:pt x="2027206" y="2027206"/>
                  </a:lnTo>
                  <a:lnTo>
                    <a:pt x="3118771" y="2027206"/>
                  </a:lnTo>
                  <a:lnTo>
                    <a:pt x="3118771" y="10915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sp>
        <p:nvSpPr>
          <p:cNvPr id="59" name="Grafik 93">
            <a:extLst>
              <a:ext uri="{FF2B5EF4-FFF2-40B4-BE49-F238E27FC236}">
                <a16:creationId xmlns:a16="http://schemas.microsoft.com/office/drawing/2014/main" id="{28C12279-CB97-E106-E139-57C19B8DA642}"/>
              </a:ext>
            </a:extLst>
          </p:cNvPr>
          <p:cNvSpPr>
            <a:spLocks noChangeAspect="1"/>
          </p:cNvSpPr>
          <p:nvPr/>
        </p:nvSpPr>
        <p:spPr bwMode="gray">
          <a:xfrm>
            <a:off x="6780210" y="2762770"/>
            <a:ext cx="366243" cy="288000"/>
          </a:xfrm>
          <a:custGeom>
            <a:avLst/>
            <a:gdLst>
              <a:gd name="connsiteX0" fmla="*/ 3213436 w 3355135"/>
              <a:gd name="connsiteY0" fmla="*/ 1375839 h 2638358"/>
              <a:gd name="connsiteX1" fmla="*/ 3354120 w 3355135"/>
              <a:gd name="connsiteY1" fmla="*/ 521875 h 2638358"/>
              <a:gd name="connsiteX2" fmla="*/ 3319925 w 3355135"/>
              <a:gd name="connsiteY2" fmla="*/ 445256 h 2638358"/>
              <a:gd name="connsiteX3" fmla="*/ 1677568 w 3355135"/>
              <a:gd name="connsiteY3" fmla="*/ 0 h 2638358"/>
              <a:gd name="connsiteX4" fmla="*/ 35212 w 3355135"/>
              <a:gd name="connsiteY4" fmla="*/ 445256 h 2638358"/>
              <a:gd name="connsiteX5" fmla="*/ 1017 w 3355135"/>
              <a:gd name="connsiteY5" fmla="*/ 521875 h 2638358"/>
              <a:gd name="connsiteX6" fmla="*/ 141701 w 3355135"/>
              <a:gd name="connsiteY6" fmla="*/ 1375839 h 2638358"/>
              <a:gd name="connsiteX7" fmla="*/ 1345 w 3355135"/>
              <a:gd name="connsiteY7" fmla="*/ 2114655 h 2638358"/>
              <a:gd name="connsiteX8" fmla="*/ 35212 w 3355135"/>
              <a:gd name="connsiteY8" fmla="*/ 2193112 h 2638358"/>
              <a:gd name="connsiteX9" fmla="*/ 1677568 w 3355135"/>
              <a:gd name="connsiteY9" fmla="*/ 2638358 h 2638358"/>
              <a:gd name="connsiteX10" fmla="*/ 3319925 w 3355135"/>
              <a:gd name="connsiteY10" fmla="*/ 2193112 h 2638358"/>
              <a:gd name="connsiteX11" fmla="*/ 3353786 w 3355135"/>
              <a:gd name="connsiteY11" fmla="*/ 2114655 h 2638358"/>
              <a:gd name="connsiteX12" fmla="*/ 2577223 w 3355135"/>
              <a:gd name="connsiteY12" fmla="*/ 1315117 h 2638358"/>
              <a:gd name="connsiteX13" fmla="*/ 2577223 w 3355135"/>
              <a:gd name="connsiteY13" fmla="*/ 1096442 h 2638358"/>
              <a:gd name="connsiteX14" fmla="*/ 2794498 w 3355135"/>
              <a:gd name="connsiteY14" fmla="*/ 879177 h 2638358"/>
              <a:gd name="connsiteX15" fmla="*/ 2811262 w 3355135"/>
              <a:gd name="connsiteY15" fmla="*/ 879177 h 2638358"/>
              <a:gd name="connsiteX16" fmla="*/ 3028537 w 3355135"/>
              <a:gd name="connsiteY16" fmla="*/ 1096442 h 2638358"/>
              <a:gd name="connsiteX17" fmla="*/ 3028537 w 3355135"/>
              <a:gd name="connsiteY17" fmla="*/ 1315117 h 2638358"/>
              <a:gd name="connsiteX18" fmla="*/ 3028537 w 3355135"/>
              <a:gd name="connsiteY18" fmla="*/ 1467517 h 2638358"/>
              <a:gd name="connsiteX19" fmla="*/ 3028537 w 3355135"/>
              <a:gd name="connsiteY19" fmla="*/ 1686182 h 2638358"/>
              <a:gd name="connsiteX20" fmla="*/ 2811262 w 3355135"/>
              <a:gd name="connsiteY20" fmla="*/ 1903447 h 2638358"/>
              <a:gd name="connsiteX21" fmla="*/ 2794498 w 3355135"/>
              <a:gd name="connsiteY21" fmla="*/ 1903447 h 2638358"/>
              <a:gd name="connsiteX22" fmla="*/ 2577223 w 3355135"/>
              <a:gd name="connsiteY22" fmla="*/ 1686182 h 2638358"/>
              <a:gd name="connsiteX23" fmla="*/ 2577223 w 3355135"/>
              <a:gd name="connsiteY23" fmla="*/ 1467517 h 2638358"/>
              <a:gd name="connsiteX24" fmla="*/ 1275870 w 3355135"/>
              <a:gd name="connsiteY24" fmla="*/ 2114931 h 2638358"/>
              <a:gd name="connsiteX25" fmla="*/ 1253076 w 3355135"/>
              <a:gd name="connsiteY25" fmla="*/ 2114931 h 2638358"/>
              <a:gd name="connsiteX26" fmla="*/ 930312 w 3355135"/>
              <a:gd name="connsiteY26" fmla="*/ 1792176 h 2638358"/>
              <a:gd name="connsiteX27" fmla="*/ 930312 w 3355135"/>
              <a:gd name="connsiteY27" fmla="*/ 1475813 h 2638358"/>
              <a:gd name="connsiteX28" fmla="*/ 938618 w 3355135"/>
              <a:gd name="connsiteY28" fmla="*/ 1467517 h 2638358"/>
              <a:gd name="connsiteX29" fmla="*/ 1590328 w 3355135"/>
              <a:gd name="connsiteY29" fmla="*/ 1467517 h 2638358"/>
              <a:gd name="connsiteX30" fmla="*/ 1598634 w 3355135"/>
              <a:gd name="connsiteY30" fmla="*/ 1475813 h 2638358"/>
              <a:gd name="connsiteX31" fmla="*/ 1598634 w 3355135"/>
              <a:gd name="connsiteY31" fmla="*/ 1792167 h 2638358"/>
              <a:gd name="connsiteX32" fmla="*/ 1275870 w 3355135"/>
              <a:gd name="connsiteY32" fmla="*/ 2114922 h 2638358"/>
              <a:gd name="connsiteX33" fmla="*/ 2079265 w 3355135"/>
              <a:gd name="connsiteY33" fmla="*/ 667703 h 2638358"/>
              <a:gd name="connsiteX34" fmla="*/ 2102059 w 3355135"/>
              <a:gd name="connsiteY34" fmla="*/ 667703 h 2638358"/>
              <a:gd name="connsiteX35" fmla="*/ 2424823 w 3355135"/>
              <a:gd name="connsiteY35" fmla="*/ 990457 h 2638358"/>
              <a:gd name="connsiteX36" fmla="*/ 2424823 w 3355135"/>
              <a:gd name="connsiteY36" fmla="*/ 1306811 h 2638358"/>
              <a:gd name="connsiteX37" fmla="*/ 2416517 w 3355135"/>
              <a:gd name="connsiteY37" fmla="*/ 1315117 h 2638358"/>
              <a:gd name="connsiteX38" fmla="*/ 1764807 w 3355135"/>
              <a:gd name="connsiteY38" fmla="*/ 1315117 h 2638358"/>
              <a:gd name="connsiteX39" fmla="*/ 1756501 w 3355135"/>
              <a:gd name="connsiteY39" fmla="*/ 1306811 h 2638358"/>
              <a:gd name="connsiteX40" fmla="*/ 1756501 w 3355135"/>
              <a:gd name="connsiteY40" fmla="*/ 990457 h 2638358"/>
              <a:gd name="connsiteX41" fmla="*/ 2079265 w 3355135"/>
              <a:gd name="connsiteY41" fmla="*/ 667703 h 2638358"/>
              <a:gd name="connsiteX42" fmla="*/ 1604101 w 3355135"/>
              <a:gd name="connsiteY42" fmla="*/ 1306811 h 2638358"/>
              <a:gd name="connsiteX43" fmla="*/ 1595805 w 3355135"/>
              <a:gd name="connsiteY43" fmla="*/ 1315117 h 2638358"/>
              <a:gd name="connsiteX44" fmla="*/ 944095 w 3355135"/>
              <a:gd name="connsiteY44" fmla="*/ 1315117 h 2638358"/>
              <a:gd name="connsiteX45" fmla="*/ 935789 w 3355135"/>
              <a:gd name="connsiteY45" fmla="*/ 1306811 h 2638358"/>
              <a:gd name="connsiteX46" fmla="*/ 935789 w 3355135"/>
              <a:gd name="connsiteY46" fmla="*/ 990457 h 2638358"/>
              <a:gd name="connsiteX47" fmla="*/ 1258553 w 3355135"/>
              <a:gd name="connsiteY47" fmla="*/ 667703 h 2638358"/>
              <a:gd name="connsiteX48" fmla="*/ 1281347 w 3355135"/>
              <a:gd name="connsiteY48" fmla="*/ 667693 h 2638358"/>
              <a:gd name="connsiteX49" fmla="*/ 1604101 w 3355135"/>
              <a:gd name="connsiteY49" fmla="*/ 990457 h 2638358"/>
              <a:gd name="connsiteX50" fmla="*/ 1751034 w 3355135"/>
              <a:gd name="connsiteY50" fmla="*/ 1475813 h 2638358"/>
              <a:gd name="connsiteX51" fmla="*/ 1759330 w 3355135"/>
              <a:gd name="connsiteY51" fmla="*/ 1467517 h 2638358"/>
              <a:gd name="connsiteX52" fmla="*/ 2411040 w 3355135"/>
              <a:gd name="connsiteY52" fmla="*/ 1467517 h 2638358"/>
              <a:gd name="connsiteX53" fmla="*/ 2419346 w 3355135"/>
              <a:gd name="connsiteY53" fmla="*/ 1475823 h 2638358"/>
              <a:gd name="connsiteX54" fmla="*/ 2419346 w 3355135"/>
              <a:gd name="connsiteY54" fmla="*/ 1792167 h 2638358"/>
              <a:gd name="connsiteX55" fmla="*/ 2096582 w 3355135"/>
              <a:gd name="connsiteY55" fmla="*/ 2114931 h 2638358"/>
              <a:gd name="connsiteX56" fmla="*/ 2073788 w 3355135"/>
              <a:gd name="connsiteY56" fmla="*/ 2114931 h 2638358"/>
              <a:gd name="connsiteX57" fmla="*/ 1751034 w 3355135"/>
              <a:gd name="connsiteY57" fmla="*/ 1792167 h 2638358"/>
              <a:gd name="connsiteX58" fmla="*/ 326599 w 3355135"/>
              <a:gd name="connsiteY58" fmla="*/ 1315117 h 2638358"/>
              <a:gd name="connsiteX59" fmla="*/ 326599 w 3355135"/>
              <a:gd name="connsiteY59" fmla="*/ 1096442 h 2638358"/>
              <a:gd name="connsiteX60" fmla="*/ 543873 w 3355135"/>
              <a:gd name="connsiteY60" fmla="*/ 879177 h 2638358"/>
              <a:gd name="connsiteX61" fmla="*/ 560637 w 3355135"/>
              <a:gd name="connsiteY61" fmla="*/ 879177 h 2638358"/>
              <a:gd name="connsiteX62" fmla="*/ 777912 w 3355135"/>
              <a:gd name="connsiteY62" fmla="*/ 1096442 h 2638358"/>
              <a:gd name="connsiteX63" fmla="*/ 777912 w 3355135"/>
              <a:gd name="connsiteY63" fmla="*/ 1315117 h 2638358"/>
              <a:gd name="connsiteX64" fmla="*/ 777912 w 3355135"/>
              <a:gd name="connsiteY64" fmla="*/ 1467517 h 2638358"/>
              <a:gd name="connsiteX65" fmla="*/ 777912 w 3355135"/>
              <a:gd name="connsiteY65" fmla="*/ 1686182 h 2638358"/>
              <a:gd name="connsiteX66" fmla="*/ 560637 w 3355135"/>
              <a:gd name="connsiteY66" fmla="*/ 1903447 h 2638358"/>
              <a:gd name="connsiteX67" fmla="*/ 543873 w 3355135"/>
              <a:gd name="connsiteY67" fmla="*/ 1903447 h 2638358"/>
              <a:gd name="connsiteX68" fmla="*/ 326599 w 3355135"/>
              <a:gd name="connsiteY68" fmla="*/ 1686182 h 2638358"/>
              <a:gd name="connsiteX69" fmla="*/ 326599 w 3355135"/>
              <a:gd name="connsiteY69" fmla="*/ 1467517 h 263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355135" h="2638358">
                <a:moveTo>
                  <a:pt x="3213436" y="1375839"/>
                </a:moveTo>
                <a:lnTo>
                  <a:pt x="3354120" y="521875"/>
                </a:lnTo>
                <a:cubicBezTo>
                  <a:pt x="3359073" y="491795"/>
                  <a:pt x="3345624" y="461658"/>
                  <a:pt x="3319925" y="445256"/>
                </a:cubicBezTo>
                <a:cubicBezTo>
                  <a:pt x="2869983" y="158125"/>
                  <a:pt x="2286710" y="0"/>
                  <a:pt x="1677568" y="0"/>
                </a:cubicBezTo>
                <a:cubicBezTo>
                  <a:pt x="1068425" y="0"/>
                  <a:pt x="485152" y="158125"/>
                  <a:pt x="35212" y="445256"/>
                </a:cubicBezTo>
                <a:cubicBezTo>
                  <a:pt x="9510" y="461658"/>
                  <a:pt x="-3941" y="491795"/>
                  <a:pt x="1017" y="521875"/>
                </a:cubicBezTo>
                <a:lnTo>
                  <a:pt x="141701" y="1375839"/>
                </a:lnTo>
                <a:lnTo>
                  <a:pt x="1345" y="2114655"/>
                </a:lnTo>
                <a:cubicBezTo>
                  <a:pt x="-4470" y="2145268"/>
                  <a:pt x="8943" y="2176348"/>
                  <a:pt x="35212" y="2193112"/>
                </a:cubicBezTo>
                <a:cubicBezTo>
                  <a:pt x="485152" y="2480234"/>
                  <a:pt x="1068425" y="2638358"/>
                  <a:pt x="1677568" y="2638358"/>
                </a:cubicBezTo>
                <a:cubicBezTo>
                  <a:pt x="2286710" y="2638358"/>
                  <a:pt x="2869983" y="2480234"/>
                  <a:pt x="3319925" y="2193112"/>
                </a:cubicBezTo>
                <a:cubicBezTo>
                  <a:pt x="3346195" y="2176348"/>
                  <a:pt x="3359606" y="2145268"/>
                  <a:pt x="3353786" y="2114655"/>
                </a:cubicBezTo>
                <a:close/>
                <a:moveTo>
                  <a:pt x="2577223" y="1315117"/>
                </a:moveTo>
                <a:lnTo>
                  <a:pt x="2577223" y="1096442"/>
                </a:lnTo>
                <a:cubicBezTo>
                  <a:pt x="2577356" y="976503"/>
                  <a:pt x="2674559" y="879310"/>
                  <a:pt x="2794498" y="879177"/>
                </a:cubicBezTo>
                <a:lnTo>
                  <a:pt x="2811262" y="879177"/>
                </a:lnTo>
                <a:cubicBezTo>
                  <a:pt x="2931200" y="879310"/>
                  <a:pt x="3028403" y="976503"/>
                  <a:pt x="3028537" y="1096442"/>
                </a:cubicBezTo>
                <a:lnTo>
                  <a:pt x="3028537" y="1315117"/>
                </a:lnTo>
                <a:close/>
                <a:moveTo>
                  <a:pt x="3028537" y="1467517"/>
                </a:moveTo>
                <a:lnTo>
                  <a:pt x="3028537" y="1686182"/>
                </a:lnTo>
                <a:cubicBezTo>
                  <a:pt x="3028403" y="1806121"/>
                  <a:pt x="2931200" y="1903314"/>
                  <a:pt x="2811262" y="1903447"/>
                </a:cubicBezTo>
                <a:lnTo>
                  <a:pt x="2794498" y="1903447"/>
                </a:lnTo>
                <a:cubicBezTo>
                  <a:pt x="2674559" y="1903314"/>
                  <a:pt x="2577366" y="1806121"/>
                  <a:pt x="2577223" y="1686182"/>
                </a:cubicBezTo>
                <a:lnTo>
                  <a:pt x="2577223" y="1467517"/>
                </a:lnTo>
                <a:close/>
                <a:moveTo>
                  <a:pt x="1275870" y="2114931"/>
                </a:moveTo>
                <a:lnTo>
                  <a:pt x="1253076" y="2114931"/>
                </a:lnTo>
                <a:cubicBezTo>
                  <a:pt x="1074902" y="2114731"/>
                  <a:pt x="930512" y="1970342"/>
                  <a:pt x="930312" y="1792176"/>
                </a:cubicBezTo>
                <a:lnTo>
                  <a:pt x="930312" y="1475813"/>
                </a:lnTo>
                <a:cubicBezTo>
                  <a:pt x="930426" y="1471279"/>
                  <a:pt x="934075" y="1467631"/>
                  <a:pt x="938618" y="1467517"/>
                </a:cubicBezTo>
                <a:lnTo>
                  <a:pt x="1590328" y="1467517"/>
                </a:lnTo>
                <a:cubicBezTo>
                  <a:pt x="1594862" y="1467622"/>
                  <a:pt x="1598520" y="1471279"/>
                  <a:pt x="1598634" y="1475813"/>
                </a:cubicBezTo>
                <a:lnTo>
                  <a:pt x="1598634" y="1792167"/>
                </a:lnTo>
                <a:cubicBezTo>
                  <a:pt x="1598434" y="1970342"/>
                  <a:pt x="1454044" y="2114722"/>
                  <a:pt x="1275870" y="2114922"/>
                </a:cubicBezTo>
                <a:close/>
                <a:moveTo>
                  <a:pt x="2079265" y="667703"/>
                </a:moveTo>
                <a:lnTo>
                  <a:pt x="2102059" y="667703"/>
                </a:lnTo>
                <a:cubicBezTo>
                  <a:pt x="2280233" y="667903"/>
                  <a:pt x="2424623" y="812282"/>
                  <a:pt x="2424823" y="990457"/>
                </a:cubicBezTo>
                <a:lnTo>
                  <a:pt x="2424823" y="1306811"/>
                </a:lnTo>
                <a:cubicBezTo>
                  <a:pt x="2424709" y="1311345"/>
                  <a:pt x="2421061" y="1315003"/>
                  <a:pt x="2416517" y="1315117"/>
                </a:cubicBezTo>
                <a:lnTo>
                  <a:pt x="1764807" y="1315117"/>
                </a:lnTo>
                <a:cubicBezTo>
                  <a:pt x="1760273" y="1315003"/>
                  <a:pt x="1756616" y="1311345"/>
                  <a:pt x="1756501" y="1306811"/>
                </a:cubicBezTo>
                <a:lnTo>
                  <a:pt x="1756501" y="990457"/>
                </a:lnTo>
                <a:cubicBezTo>
                  <a:pt x="1756701" y="812282"/>
                  <a:pt x="1901091" y="667893"/>
                  <a:pt x="2079265" y="667703"/>
                </a:cubicBezTo>
                <a:close/>
                <a:moveTo>
                  <a:pt x="1604101" y="1306811"/>
                </a:moveTo>
                <a:cubicBezTo>
                  <a:pt x="1603987" y="1311345"/>
                  <a:pt x="1600339" y="1315003"/>
                  <a:pt x="1595805" y="1315117"/>
                </a:cubicBezTo>
                <a:lnTo>
                  <a:pt x="944095" y="1315117"/>
                </a:lnTo>
                <a:cubicBezTo>
                  <a:pt x="939561" y="1315003"/>
                  <a:pt x="935903" y="1311345"/>
                  <a:pt x="935789" y="1306811"/>
                </a:cubicBezTo>
                <a:lnTo>
                  <a:pt x="935789" y="990457"/>
                </a:lnTo>
                <a:cubicBezTo>
                  <a:pt x="935989" y="812282"/>
                  <a:pt x="1080379" y="667893"/>
                  <a:pt x="1258553" y="667703"/>
                </a:cubicBezTo>
                <a:lnTo>
                  <a:pt x="1281347" y="667693"/>
                </a:lnTo>
                <a:cubicBezTo>
                  <a:pt x="1459521" y="667903"/>
                  <a:pt x="1603901" y="812282"/>
                  <a:pt x="1604101" y="990457"/>
                </a:cubicBezTo>
                <a:close/>
                <a:moveTo>
                  <a:pt x="1751034" y="1475813"/>
                </a:moveTo>
                <a:cubicBezTo>
                  <a:pt x="1751148" y="1471279"/>
                  <a:pt x="1754796" y="1467631"/>
                  <a:pt x="1759330" y="1467517"/>
                </a:cubicBezTo>
                <a:lnTo>
                  <a:pt x="2411040" y="1467517"/>
                </a:lnTo>
                <a:cubicBezTo>
                  <a:pt x="2415574" y="1467631"/>
                  <a:pt x="2419232" y="1471279"/>
                  <a:pt x="2419346" y="1475823"/>
                </a:cubicBezTo>
                <a:lnTo>
                  <a:pt x="2419346" y="1792167"/>
                </a:lnTo>
                <a:cubicBezTo>
                  <a:pt x="2419146" y="1970342"/>
                  <a:pt x="2274756" y="2114731"/>
                  <a:pt x="2096582" y="2114931"/>
                </a:cubicBezTo>
                <a:lnTo>
                  <a:pt x="2073788" y="2114931"/>
                </a:lnTo>
                <a:cubicBezTo>
                  <a:pt x="1895614" y="2114731"/>
                  <a:pt x="1751234" y="1970342"/>
                  <a:pt x="1751034" y="1792167"/>
                </a:cubicBezTo>
                <a:close/>
                <a:moveTo>
                  <a:pt x="326599" y="1315117"/>
                </a:moveTo>
                <a:lnTo>
                  <a:pt x="326599" y="1096442"/>
                </a:lnTo>
                <a:cubicBezTo>
                  <a:pt x="326732" y="976503"/>
                  <a:pt x="423935" y="879310"/>
                  <a:pt x="543873" y="879177"/>
                </a:cubicBezTo>
                <a:lnTo>
                  <a:pt x="560637" y="879177"/>
                </a:lnTo>
                <a:cubicBezTo>
                  <a:pt x="680576" y="879310"/>
                  <a:pt x="777779" y="976503"/>
                  <a:pt x="777912" y="1096442"/>
                </a:cubicBezTo>
                <a:lnTo>
                  <a:pt x="777912" y="1315117"/>
                </a:lnTo>
                <a:close/>
                <a:moveTo>
                  <a:pt x="777912" y="1467517"/>
                </a:moveTo>
                <a:lnTo>
                  <a:pt x="777912" y="1686182"/>
                </a:lnTo>
                <a:cubicBezTo>
                  <a:pt x="777769" y="1806121"/>
                  <a:pt x="680576" y="1903314"/>
                  <a:pt x="560637" y="1903447"/>
                </a:cubicBezTo>
                <a:lnTo>
                  <a:pt x="543873" y="1903447"/>
                </a:lnTo>
                <a:cubicBezTo>
                  <a:pt x="423935" y="1903314"/>
                  <a:pt x="326732" y="1806121"/>
                  <a:pt x="326599" y="1686182"/>
                </a:cubicBezTo>
                <a:lnTo>
                  <a:pt x="326599" y="14675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100" dirty="0"/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B1336FFC-A75A-F51C-F914-64725EBC9AD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6933101" y="4357316"/>
            <a:ext cx="482430" cy="48243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9B159D0D-1209-6761-4F89-E3635EEA8AE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503973" y="3766904"/>
            <a:ext cx="576000" cy="5760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5C72F844-861F-2C02-04FC-9DF436F9210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4863318" y="4467762"/>
            <a:ext cx="329843" cy="329843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6523ABC7-5986-83B1-F2CA-D6238E2B74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gray">
          <a:xfrm>
            <a:off x="5853876" y="4970665"/>
            <a:ext cx="468000" cy="468000"/>
          </a:xfrm>
          <a:prstGeom prst="rect">
            <a:avLst/>
          </a:prstGeom>
        </p:spPr>
      </p:pic>
      <p:sp>
        <p:nvSpPr>
          <p:cNvPr id="65" name="Textfeld 64">
            <a:extLst>
              <a:ext uri="{FF2B5EF4-FFF2-40B4-BE49-F238E27FC236}">
                <a16:creationId xmlns:a16="http://schemas.microsoft.com/office/drawing/2014/main" id="{BA131F8B-515F-1B79-4A06-E726118992B4}"/>
              </a:ext>
            </a:extLst>
          </p:cNvPr>
          <p:cNvSpPr txBox="1"/>
          <p:nvPr/>
        </p:nvSpPr>
        <p:spPr bwMode="gray">
          <a:xfrm>
            <a:off x="5084160" y="3690746"/>
            <a:ext cx="2023680" cy="640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noAutofit/>
          </a:bodyPr>
          <a:lstStyle/>
          <a:p>
            <a:pPr algn="ctr"/>
            <a:r>
              <a:rPr lang="de-DE" sz="2800" dirty="0">
                <a:solidFill>
                  <a:schemeClr val="accent1"/>
                </a:solidFill>
              </a:rPr>
              <a:t>BKBT</a:t>
            </a:r>
          </a:p>
        </p:txBody>
      </p:sp>
    </p:spTree>
    <p:extLst>
      <p:ext uri="{BB962C8B-B14F-4D97-AF65-F5344CB8AC3E}">
        <p14:creationId xmlns:p14="http://schemas.microsoft.com/office/powerpoint/2010/main" val="228298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4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43" grpId="0" animBg="1"/>
      <p:bldP spid="5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6658FF3-8200-6E17-AB30-12DC31955B05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Ein</a:t>
            </a:r>
            <a:r>
              <a:rPr lang="de-DE" sz="5400" b="1" dirty="0">
                <a:solidFill>
                  <a:schemeClr val="accent1"/>
                </a:solidFill>
              </a:rPr>
              <a:t> </a:t>
            </a:r>
            <a:r>
              <a:rPr lang="de-DE" sz="5400" dirty="0">
                <a:solidFill>
                  <a:schemeClr val="accent1"/>
                </a:solidFill>
              </a:rPr>
              <a:t>jährliches</a:t>
            </a:r>
            <a:r>
              <a:rPr lang="de-DE" sz="5400" b="1" dirty="0">
                <a:solidFill>
                  <a:schemeClr val="accent1"/>
                </a:solidFill>
              </a:rPr>
              <a:t> Budget</a:t>
            </a:r>
            <a:endParaRPr lang="de-DE" sz="5400" dirty="0">
              <a:solidFill>
                <a:schemeClr val="accent1"/>
              </a:solidFill>
            </a:endParaRPr>
          </a:p>
        </p:txBody>
      </p:sp>
      <p:sp>
        <p:nvSpPr>
          <p:cNvPr id="5" name="Kreis: nicht ausgefüllt 4">
            <a:extLst>
              <a:ext uri="{FF2B5EF4-FFF2-40B4-BE49-F238E27FC236}">
                <a16:creationId xmlns:a16="http://schemas.microsoft.com/office/drawing/2014/main" id="{5371303D-C0E5-6EF8-81D8-787FE905E80C}"/>
              </a:ext>
            </a:extLst>
          </p:cNvPr>
          <p:cNvSpPr/>
          <p:nvPr/>
        </p:nvSpPr>
        <p:spPr>
          <a:xfrm>
            <a:off x="407987" y="5021194"/>
            <a:ext cx="974244" cy="974244"/>
          </a:xfrm>
          <a:prstGeom prst="donut">
            <a:avLst>
              <a:gd name="adj" fmla="val 206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6" name="Kreis: nicht ausgefüllt 5">
            <a:extLst>
              <a:ext uri="{FF2B5EF4-FFF2-40B4-BE49-F238E27FC236}">
                <a16:creationId xmlns:a16="http://schemas.microsoft.com/office/drawing/2014/main" id="{69F5F2F5-0076-90D7-A9D4-9A46AF5BB070}"/>
              </a:ext>
            </a:extLst>
          </p:cNvPr>
          <p:cNvSpPr/>
          <p:nvPr/>
        </p:nvSpPr>
        <p:spPr>
          <a:xfrm>
            <a:off x="1726210" y="4769537"/>
            <a:ext cx="1229426" cy="1229426"/>
          </a:xfrm>
          <a:prstGeom prst="donut">
            <a:avLst>
              <a:gd name="adj" fmla="val 203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Kreis: nicht ausgefüllt 6">
            <a:extLst>
              <a:ext uri="{FF2B5EF4-FFF2-40B4-BE49-F238E27FC236}">
                <a16:creationId xmlns:a16="http://schemas.microsoft.com/office/drawing/2014/main" id="{6EAEA74C-0B3E-CE16-2FD6-5CC8F8C17A6A}"/>
              </a:ext>
            </a:extLst>
          </p:cNvPr>
          <p:cNvSpPr/>
          <p:nvPr/>
        </p:nvSpPr>
        <p:spPr>
          <a:xfrm>
            <a:off x="3299615" y="4554062"/>
            <a:ext cx="1463342" cy="1463342"/>
          </a:xfrm>
          <a:prstGeom prst="donut">
            <a:avLst>
              <a:gd name="adj" fmla="val 201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Kreis: nicht ausgefüllt 7">
            <a:extLst>
              <a:ext uri="{FF2B5EF4-FFF2-40B4-BE49-F238E27FC236}">
                <a16:creationId xmlns:a16="http://schemas.microsoft.com/office/drawing/2014/main" id="{C491DC0F-4A67-A02B-08B9-F17651518F5A}"/>
              </a:ext>
            </a:extLst>
          </p:cNvPr>
          <p:cNvSpPr/>
          <p:nvPr/>
        </p:nvSpPr>
        <p:spPr>
          <a:xfrm>
            <a:off x="5106936" y="4284851"/>
            <a:ext cx="1710587" cy="1710587"/>
          </a:xfrm>
          <a:prstGeom prst="donut">
            <a:avLst>
              <a:gd name="adj" fmla="val 20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Kreis: nicht ausgefüllt 11">
            <a:extLst>
              <a:ext uri="{FF2B5EF4-FFF2-40B4-BE49-F238E27FC236}">
                <a16:creationId xmlns:a16="http://schemas.microsoft.com/office/drawing/2014/main" id="{5D6D6AFB-745A-359D-550F-32EB1A39E97D}"/>
              </a:ext>
            </a:extLst>
          </p:cNvPr>
          <p:cNvSpPr/>
          <p:nvPr/>
        </p:nvSpPr>
        <p:spPr>
          <a:xfrm>
            <a:off x="7161502" y="4036758"/>
            <a:ext cx="1958680" cy="1958680"/>
          </a:xfrm>
          <a:prstGeom prst="donut">
            <a:avLst>
              <a:gd name="adj" fmla="val 198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Kreis: nicht ausgefüllt 12">
            <a:extLst>
              <a:ext uri="{FF2B5EF4-FFF2-40B4-BE49-F238E27FC236}">
                <a16:creationId xmlns:a16="http://schemas.microsoft.com/office/drawing/2014/main" id="{889EB370-B011-42AA-BD90-AC59757C7B78}"/>
              </a:ext>
            </a:extLst>
          </p:cNvPr>
          <p:cNvSpPr/>
          <p:nvPr/>
        </p:nvSpPr>
        <p:spPr>
          <a:xfrm>
            <a:off x="9464161" y="3675587"/>
            <a:ext cx="2319851" cy="2319851"/>
          </a:xfrm>
          <a:prstGeom prst="donut">
            <a:avLst>
              <a:gd name="adj" fmla="val 188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9782C3A-05CA-378E-C7EE-45F9AB1F6AFA}"/>
              </a:ext>
            </a:extLst>
          </p:cNvPr>
          <p:cNvSpPr txBox="1">
            <a:spLocks/>
          </p:cNvSpPr>
          <p:nvPr/>
        </p:nvSpPr>
        <p:spPr>
          <a:xfrm>
            <a:off x="5297684" y="2157021"/>
            <a:ext cx="1282615" cy="3982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32,90 EUR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E6EC77D-FBCF-F68F-4860-40F85466B716}"/>
              </a:ext>
            </a:extLst>
          </p:cNvPr>
          <p:cNvSpPr txBox="1">
            <a:spLocks/>
          </p:cNvSpPr>
          <p:nvPr/>
        </p:nvSpPr>
        <p:spPr bwMode="gray">
          <a:xfrm>
            <a:off x="367044" y="2157021"/>
            <a:ext cx="1052321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10,90 EUR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3D5F82D-D753-111A-51C5-B670FC33B0F0}"/>
              </a:ext>
            </a:extLst>
          </p:cNvPr>
          <p:cNvSpPr txBox="1">
            <a:spLocks/>
          </p:cNvSpPr>
          <p:nvPr/>
        </p:nvSpPr>
        <p:spPr bwMode="gray">
          <a:xfrm>
            <a:off x="1812858" y="2153429"/>
            <a:ext cx="1052320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19,90 EUR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CE389D3-1436-139D-5164-2DFAFA175259}"/>
              </a:ext>
            </a:extLst>
          </p:cNvPr>
          <p:cNvSpPr txBox="1">
            <a:spLocks/>
          </p:cNvSpPr>
          <p:nvPr/>
        </p:nvSpPr>
        <p:spPr bwMode="gray">
          <a:xfrm>
            <a:off x="3514878" y="2157021"/>
            <a:ext cx="1002530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26,90 EUR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8224A287-E690-9234-BD9F-0AA3C15EA424}"/>
              </a:ext>
            </a:extLst>
          </p:cNvPr>
          <p:cNvSpPr txBox="1">
            <a:spLocks/>
          </p:cNvSpPr>
          <p:nvPr/>
        </p:nvSpPr>
        <p:spPr bwMode="gray">
          <a:xfrm>
            <a:off x="7612777" y="2157021"/>
            <a:ext cx="1037430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37,90 EUR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2630BA10-CFF7-EADE-1544-A6A81442E67D}"/>
              </a:ext>
            </a:extLst>
          </p:cNvPr>
          <p:cNvSpPr txBox="1">
            <a:spLocks/>
          </p:cNvSpPr>
          <p:nvPr/>
        </p:nvSpPr>
        <p:spPr bwMode="gray">
          <a:xfrm>
            <a:off x="10082371" y="2153429"/>
            <a:ext cx="1052319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41,90 EUR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8BA6575-A0DA-E511-F9CB-CE99A6B87419}"/>
              </a:ext>
            </a:extLst>
          </p:cNvPr>
          <p:cNvCxnSpPr>
            <a:cxnSpLocks/>
          </p:cNvCxnSpPr>
          <p:nvPr/>
        </p:nvCxnSpPr>
        <p:spPr>
          <a:xfrm>
            <a:off x="889992" y="2631769"/>
            <a:ext cx="0" cy="21194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86088A64-D0F0-D6E7-E232-3D4CC674E5E8}"/>
              </a:ext>
            </a:extLst>
          </p:cNvPr>
          <p:cNvCxnSpPr>
            <a:cxnSpLocks/>
          </p:cNvCxnSpPr>
          <p:nvPr/>
        </p:nvCxnSpPr>
        <p:spPr>
          <a:xfrm>
            <a:off x="2340923" y="2631769"/>
            <a:ext cx="0" cy="175940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5743336-28A6-5ACF-154C-B554AE32E6DB}"/>
              </a:ext>
            </a:extLst>
          </p:cNvPr>
          <p:cNvCxnSpPr>
            <a:cxnSpLocks/>
          </p:cNvCxnSpPr>
          <p:nvPr/>
        </p:nvCxnSpPr>
        <p:spPr>
          <a:xfrm>
            <a:off x="4029295" y="2631769"/>
            <a:ext cx="0" cy="15254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D2B2A94-C5C1-DF8B-703A-663104972A91}"/>
              </a:ext>
            </a:extLst>
          </p:cNvPr>
          <p:cNvCxnSpPr>
            <a:cxnSpLocks/>
          </p:cNvCxnSpPr>
          <p:nvPr/>
        </p:nvCxnSpPr>
        <p:spPr>
          <a:xfrm>
            <a:off x="5951538" y="2631769"/>
            <a:ext cx="0" cy="11923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8FBCA2F8-DCDE-8E5C-88AF-F5D26CF57CE9}"/>
              </a:ext>
            </a:extLst>
          </p:cNvPr>
          <p:cNvCxnSpPr>
            <a:cxnSpLocks/>
          </p:cNvCxnSpPr>
          <p:nvPr/>
        </p:nvCxnSpPr>
        <p:spPr>
          <a:xfrm>
            <a:off x="8134602" y="2631769"/>
            <a:ext cx="0" cy="98718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BD4436B-A563-1672-CAF6-82473D9E12FC}"/>
              </a:ext>
            </a:extLst>
          </p:cNvPr>
          <p:cNvCxnSpPr>
            <a:cxnSpLocks/>
          </p:cNvCxnSpPr>
          <p:nvPr/>
        </p:nvCxnSpPr>
        <p:spPr>
          <a:xfrm>
            <a:off x="10617692" y="2631769"/>
            <a:ext cx="0" cy="63210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0" name="Gruppieren 1359">
            <a:extLst>
              <a:ext uri="{FF2B5EF4-FFF2-40B4-BE49-F238E27FC236}">
                <a16:creationId xmlns:a16="http://schemas.microsoft.com/office/drawing/2014/main" id="{BE266932-8847-E471-FC4E-315FC9EDC29B}"/>
              </a:ext>
            </a:extLst>
          </p:cNvPr>
          <p:cNvGrpSpPr>
            <a:grpSpLocks noChangeAspect="1"/>
          </p:cNvGrpSpPr>
          <p:nvPr/>
        </p:nvGrpSpPr>
        <p:grpSpPr>
          <a:xfrm>
            <a:off x="9907601" y="663431"/>
            <a:ext cx="1729482" cy="732187"/>
            <a:chOff x="8183563" y="3897313"/>
            <a:chExt cx="2665484" cy="1128449"/>
          </a:xfrm>
        </p:grpSpPr>
        <p:sp>
          <p:nvSpPr>
            <p:cNvPr id="1361" name="Rounded Rectangle 9">
              <a:extLst>
                <a:ext uri="{FF2B5EF4-FFF2-40B4-BE49-F238E27FC236}">
                  <a16:creationId xmlns:a16="http://schemas.microsoft.com/office/drawing/2014/main" id="{160717EA-CDD0-17F2-9EF4-F2185BFE49C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183563" y="3897313"/>
              <a:ext cx="2665484" cy="1128449"/>
            </a:xfrm>
            <a:prstGeom prst="roundRect">
              <a:avLst>
                <a:gd name="adj" fmla="val 4518"/>
              </a:avLst>
            </a:prstGeom>
            <a:solidFill>
              <a:srgbClr val="7030A0"/>
            </a:solidFill>
          </p:spPr>
          <p:txBody>
            <a:bodyPr vert="horz" lIns="1008000" tIns="180000" rIns="180000" bIns="180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buClr>
                  <a:schemeClr val="bg1"/>
                </a:buClr>
              </a:pPr>
              <a:r>
                <a:rPr lang="de-DE" sz="1200" dirty="0">
                  <a:solidFill>
                    <a:schemeClr val="bg1"/>
                  </a:solidFill>
                </a:rPr>
                <a:t>Tarif BKBT</a:t>
              </a:r>
            </a:p>
          </p:txBody>
        </p:sp>
        <p:grpSp>
          <p:nvGrpSpPr>
            <p:cNvPr id="1362" name="Grafik 64">
              <a:extLst>
                <a:ext uri="{FF2B5EF4-FFF2-40B4-BE49-F238E27FC236}">
                  <a16:creationId xmlns:a16="http://schemas.microsoft.com/office/drawing/2014/main" id="{A6DF5338-747D-D86B-945B-E2EABF4D10A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368919" y="4135454"/>
              <a:ext cx="652167" cy="652167"/>
              <a:chOff x="4391025" y="1724025"/>
              <a:chExt cx="3409950" cy="3409950"/>
            </a:xfrm>
            <a:solidFill>
              <a:schemeClr val="bg1"/>
            </a:solidFill>
          </p:grpSpPr>
          <p:sp>
            <p:nvSpPr>
              <p:cNvPr id="1363" name="Freihandform: Form 1362">
                <a:extLst>
                  <a:ext uri="{FF2B5EF4-FFF2-40B4-BE49-F238E27FC236}">
                    <a16:creationId xmlns:a16="http://schemas.microsoft.com/office/drawing/2014/main" id="{B725D6D8-40A0-EF2D-B68A-F555C4371328}"/>
                  </a:ext>
                </a:extLst>
              </p:cNvPr>
              <p:cNvSpPr/>
              <p:nvPr/>
            </p:nvSpPr>
            <p:spPr bwMode="gray">
              <a:xfrm>
                <a:off x="5813203" y="2385060"/>
                <a:ext cx="561975" cy="561975"/>
              </a:xfrm>
              <a:custGeom>
                <a:avLst/>
                <a:gdLst>
                  <a:gd name="connsiteX0" fmla="*/ 0 w 561975"/>
                  <a:gd name="connsiteY0" fmla="*/ 284798 h 561975"/>
                  <a:gd name="connsiteX1" fmla="*/ 284702 w 561975"/>
                  <a:gd name="connsiteY1" fmla="*/ 565785 h 561975"/>
                  <a:gd name="connsiteX2" fmla="*/ 569405 w 561975"/>
                  <a:gd name="connsiteY2" fmla="*/ 281083 h 561975"/>
                  <a:gd name="connsiteX3" fmla="*/ 284702 w 561975"/>
                  <a:gd name="connsiteY3" fmla="*/ 0 h 561975"/>
                  <a:gd name="connsiteX4" fmla="*/ 0 w 561975"/>
                  <a:gd name="connsiteY4" fmla="*/ 284798 h 56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975" h="561975">
                    <a:moveTo>
                      <a:pt x="0" y="284798"/>
                    </a:moveTo>
                    <a:cubicBezTo>
                      <a:pt x="0" y="436436"/>
                      <a:pt x="125635" y="565785"/>
                      <a:pt x="284702" y="565785"/>
                    </a:cubicBezTo>
                    <a:cubicBezTo>
                      <a:pt x="443770" y="565785"/>
                      <a:pt x="569405" y="436436"/>
                      <a:pt x="569405" y="281083"/>
                    </a:cubicBezTo>
                    <a:cubicBezTo>
                      <a:pt x="569405" y="125730"/>
                      <a:pt x="443770" y="0"/>
                      <a:pt x="284702" y="0"/>
                    </a:cubicBezTo>
                    <a:cubicBezTo>
                      <a:pt x="125635" y="0"/>
                      <a:pt x="0" y="125730"/>
                      <a:pt x="0" y="28479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4" name="Freihandform: Form 1363">
                <a:extLst>
                  <a:ext uri="{FF2B5EF4-FFF2-40B4-BE49-F238E27FC236}">
                    <a16:creationId xmlns:a16="http://schemas.microsoft.com/office/drawing/2014/main" id="{A9D16A5E-9135-8E12-4C69-D5951D11DE00}"/>
                  </a:ext>
                </a:extLst>
              </p:cNvPr>
              <p:cNvSpPr/>
              <p:nvPr/>
            </p:nvSpPr>
            <p:spPr bwMode="gray">
              <a:xfrm>
                <a:off x="5813203" y="3140678"/>
                <a:ext cx="561975" cy="1323975"/>
              </a:xfrm>
              <a:custGeom>
                <a:avLst/>
                <a:gdLst>
                  <a:gd name="connsiteX0" fmla="*/ 0 w 561975"/>
                  <a:gd name="connsiteY0" fmla="*/ 0 h 1323975"/>
                  <a:gd name="connsiteX1" fmla="*/ 569500 w 561975"/>
                  <a:gd name="connsiteY1" fmla="*/ 0 h 1323975"/>
                  <a:gd name="connsiteX2" fmla="*/ 569500 w 561975"/>
                  <a:gd name="connsiteY2" fmla="*/ 1328737 h 1323975"/>
                  <a:gd name="connsiteX3" fmla="*/ 0 w 561975"/>
                  <a:gd name="connsiteY3" fmla="*/ 1328737 h 132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1975" h="1323975">
                    <a:moveTo>
                      <a:pt x="0" y="0"/>
                    </a:moveTo>
                    <a:lnTo>
                      <a:pt x="569500" y="0"/>
                    </a:lnTo>
                    <a:lnTo>
                      <a:pt x="569500" y="1328737"/>
                    </a:lnTo>
                    <a:lnTo>
                      <a:pt x="0" y="132873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5" name="Freihandform: Form 1364">
                <a:extLst>
                  <a:ext uri="{FF2B5EF4-FFF2-40B4-BE49-F238E27FC236}">
                    <a16:creationId xmlns:a16="http://schemas.microsoft.com/office/drawing/2014/main" id="{BD890637-CA41-3037-6260-2A388CA2B462}"/>
                  </a:ext>
                </a:extLst>
              </p:cNvPr>
              <p:cNvSpPr/>
              <p:nvPr/>
            </p:nvSpPr>
            <p:spPr bwMode="gray">
              <a:xfrm>
                <a:off x="6192869" y="3503867"/>
                <a:ext cx="1600200" cy="1619250"/>
              </a:xfrm>
              <a:custGeom>
                <a:avLst/>
                <a:gdLst>
                  <a:gd name="connsiteX0" fmla="*/ 1417892 w 1600200"/>
                  <a:gd name="connsiteY0" fmla="*/ 0 h 1619250"/>
                  <a:gd name="connsiteX1" fmla="*/ 0 w 1600200"/>
                  <a:gd name="connsiteY1" fmla="*/ 1437703 h 1619250"/>
                  <a:gd name="connsiteX2" fmla="*/ 0 w 1600200"/>
                  <a:gd name="connsiteY2" fmla="*/ 1627537 h 1619250"/>
                  <a:gd name="connsiteX3" fmla="*/ 1607725 w 1600200"/>
                  <a:gd name="connsiteY3" fmla="*/ 0 h 1619250"/>
                  <a:gd name="connsiteX4" fmla="*/ 1417892 w 1600200"/>
                  <a:gd name="connsiteY4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0200" h="1619250">
                    <a:moveTo>
                      <a:pt x="1417892" y="0"/>
                    </a:moveTo>
                    <a:cubicBezTo>
                      <a:pt x="1379506" y="769525"/>
                      <a:pt x="766858" y="1388840"/>
                      <a:pt x="0" y="1437703"/>
                    </a:cubicBezTo>
                    <a:lnTo>
                      <a:pt x="0" y="1627537"/>
                    </a:lnTo>
                    <a:cubicBezTo>
                      <a:pt x="872776" y="1578388"/>
                      <a:pt x="1569053" y="875538"/>
                      <a:pt x="1607725" y="0"/>
                    </a:cubicBezTo>
                    <a:cubicBezTo>
                      <a:pt x="1607630" y="0"/>
                      <a:pt x="1417892" y="0"/>
                      <a:pt x="1417892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6" name="Freihandform: Form 1365">
                <a:extLst>
                  <a:ext uri="{FF2B5EF4-FFF2-40B4-BE49-F238E27FC236}">
                    <a16:creationId xmlns:a16="http://schemas.microsoft.com/office/drawing/2014/main" id="{2D22295D-153E-994D-A69C-8FC15D1B266E}"/>
                  </a:ext>
                </a:extLst>
              </p:cNvPr>
              <p:cNvSpPr/>
              <p:nvPr/>
            </p:nvSpPr>
            <p:spPr bwMode="gray">
              <a:xfrm>
                <a:off x="6192869" y="1724311"/>
                <a:ext cx="1600200" cy="1581150"/>
              </a:xfrm>
              <a:custGeom>
                <a:avLst/>
                <a:gdLst>
                  <a:gd name="connsiteX0" fmla="*/ 1416082 w 1600200"/>
                  <a:gd name="connsiteY0" fmla="*/ 1589818 h 1581150"/>
                  <a:gd name="connsiteX1" fmla="*/ 1605915 w 1600200"/>
                  <a:gd name="connsiteY1" fmla="*/ 1589818 h 1581150"/>
                  <a:gd name="connsiteX2" fmla="*/ 0 w 1600200"/>
                  <a:gd name="connsiteY2" fmla="*/ 0 h 1581150"/>
                  <a:gd name="connsiteX3" fmla="*/ 0 w 1600200"/>
                  <a:gd name="connsiteY3" fmla="*/ 189833 h 1581150"/>
                  <a:gd name="connsiteX4" fmla="*/ 1416082 w 1600200"/>
                  <a:gd name="connsiteY4" fmla="*/ 1589818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0200" h="1581150">
                    <a:moveTo>
                      <a:pt x="1416082" y="1589818"/>
                    </a:moveTo>
                    <a:lnTo>
                      <a:pt x="1605915" y="1589818"/>
                    </a:lnTo>
                    <a:cubicBezTo>
                      <a:pt x="1549146" y="731901"/>
                      <a:pt x="860203" y="48387"/>
                      <a:pt x="0" y="0"/>
                    </a:cubicBezTo>
                    <a:lnTo>
                      <a:pt x="0" y="189833"/>
                    </a:lnTo>
                    <a:cubicBezTo>
                      <a:pt x="754285" y="237839"/>
                      <a:pt x="1359884" y="837819"/>
                      <a:pt x="1416082" y="15898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7" name="Freihandform: Form 1366">
                <a:extLst>
                  <a:ext uri="{FF2B5EF4-FFF2-40B4-BE49-F238E27FC236}">
                    <a16:creationId xmlns:a16="http://schemas.microsoft.com/office/drawing/2014/main" id="{E41DB035-3E9D-E1D8-3F5C-1883A009E84C}"/>
                  </a:ext>
                </a:extLst>
              </p:cNvPr>
              <p:cNvSpPr/>
              <p:nvPr/>
            </p:nvSpPr>
            <p:spPr bwMode="gray">
              <a:xfrm>
                <a:off x="4392835" y="1724025"/>
                <a:ext cx="1609725" cy="1581150"/>
              </a:xfrm>
              <a:custGeom>
                <a:avLst/>
                <a:gdLst>
                  <a:gd name="connsiteX0" fmla="*/ 1610201 w 1609725"/>
                  <a:gd name="connsiteY0" fmla="*/ 189833 h 1581150"/>
                  <a:gd name="connsiteX1" fmla="*/ 1610201 w 1609725"/>
                  <a:gd name="connsiteY1" fmla="*/ 0 h 1581150"/>
                  <a:gd name="connsiteX2" fmla="*/ 0 w 1609725"/>
                  <a:gd name="connsiteY2" fmla="*/ 1590104 h 1581150"/>
                  <a:gd name="connsiteX3" fmla="*/ 189833 w 1609725"/>
                  <a:gd name="connsiteY3" fmla="*/ 1590104 h 1581150"/>
                  <a:gd name="connsiteX4" fmla="*/ 1610201 w 1609725"/>
                  <a:gd name="connsiteY4" fmla="*/ 189833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9725" h="1581150">
                    <a:moveTo>
                      <a:pt x="1610201" y="189833"/>
                    </a:moveTo>
                    <a:lnTo>
                      <a:pt x="1610201" y="0"/>
                    </a:lnTo>
                    <a:cubicBezTo>
                      <a:pt x="747903" y="46387"/>
                      <a:pt x="56864" y="730758"/>
                      <a:pt x="0" y="1590104"/>
                    </a:cubicBezTo>
                    <a:lnTo>
                      <a:pt x="189833" y="1590104"/>
                    </a:lnTo>
                    <a:cubicBezTo>
                      <a:pt x="246126" y="836771"/>
                      <a:pt x="853821" y="235934"/>
                      <a:pt x="1610201" y="1898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8" name="Freihandform: Form 1367">
                <a:extLst>
                  <a:ext uri="{FF2B5EF4-FFF2-40B4-BE49-F238E27FC236}">
                    <a16:creationId xmlns:a16="http://schemas.microsoft.com/office/drawing/2014/main" id="{62D75976-9052-6C10-8EB2-B9D49608670F}"/>
                  </a:ext>
                </a:extLst>
              </p:cNvPr>
              <p:cNvSpPr/>
              <p:nvPr/>
            </p:nvSpPr>
            <p:spPr bwMode="gray">
              <a:xfrm>
                <a:off x="4391025" y="3503867"/>
                <a:ext cx="1609725" cy="1619250"/>
              </a:xfrm>
              <a:custGeom>
                <a:avLst/>
                <a:gdLst>
                  <a:gd name="connsiteX0" fmla="*/ 189833 w 1609725"/>
                  <a:gd name="connsiteY0" fmla="*/ 0 h 1619250"/>
                  <a:gd name="connsiteX1" fmla="*/ 0 w 1609725"/>
                  <a:gd name="connsiteY1" fmla="*/ 0 h 1619250"/>
                  <a:gd name="connsiteX2" fmla="*/ 1612011 w 1609725"/>
                  <a:gd name="connsiteY2" fmla="*/ 1627823 h 1619250"/>
                  <a:gd name="connsiteX3" fmla="*/ 1612011 w 1609725"/>
                  <a:gd name="connsiteY3" fmla="*/ 1437989 h 1619250"/>
                  <a:gd name="connsiteX4" fmla="*/ 189833 w 1609725"/>
                  <a:gd name="connsiteY4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9725" h="1619250">
                    <a:moveTo>
                      <a:pt x="189833" y="0"/>
                    </a:moveTo>
                    <a:lnTo>
                      <a:pt x="0" y="0"/>
                    </a:lnTo>
                    <a:cubicBezTo>
                      <a:pt x="38767" y="876967"/>
                      <a:pt x="737045" y="1580674"/>
                      <a:pt x="1612011" y="1627823"/>
                    </a:cubicBezTo>
                    <a:lnTo>
                      <a:pt x="1612011" y="1437989"/>
                    </a:lnTo>
                    <a:cubicBezTo>
                      <a:pt x="843058" y="1391126"/>
                      <a:pt x="228219" y="771049"/>
                      <a:pt x="189833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B90375D0-80B6-0281-8028-8AE03D1632DB}"/>
              </a:ext>
            </a:extLst>
          </p:cNvPr>
          <p:cNvSpPr txBox="1"/>
          <p:nvPr/>
        </p:nvSpPr>
        <p:spPr>
          <a:xfrm>
            <a:off x="407987" y="5230024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3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A90143-1A89-5C81-87F4-F0B99CD6974E}"/>
              </a:ext>
            </a:extLst>
          </p:cNvPr>
          <p:cNvSpPr txBox="1"/>
          <p:nvPr/>
        </p:nvSpPr>
        <p:spPr>
          <a:xfrm>
            <a:off x="1853802" y="5119606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6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2C7C4B6-0170-8741-AF20-D342D4301CA5}"/>
              </a:ext>
            </a:extLst>
          </p:cNvPr>
          <p:cNvSpPr txBox="1"/>
          <p:nvPr/>
        </p:nvSpPr>
        <p:spPr>
          <a:xfrm>
            <a:off x="3544983" y="5021089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900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EU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F0F972-8E8E-BF88-F000-831A7FE05BBE}"/>
              </a:ext>
            </a:extLst>
          </p:cNvPr>
          <p:cNvSpPr txBox="1"/>
          <p:nvPr/>
        </p:nvSpPr>
        <p:spPr>
          <a:xfrm>
            <a:off x="5475108" y="4875500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200 EU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E702A98-27BE-A337-CF38-8E61AFD7FC89}"/>
              </a:ext>
            </a:extLst>
          </p:cNvPr>
          <p:cNvSpPr txBox="1"/>
          <p:nvPr/>
        </p:nvSpPr>
        <p:spPr>
          <a:xfrm>
            <a:off x="7653720" y="4737806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500 EUR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8E49407-CEC3-A502-6F89-0ABF99D3316C}"/>
              </a:ext>
            </a:extLst>
          </p:cNvPr>
          <p:cNvSpPr txBox="1"/>
          <p:nvPr/>
        </p:nvSpPr>
        <p:spPr>
          <a:xfrm>
            <a:off x="10136964" y="4564581"/>
            <a:ext cx="974243" cy="54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1.700 EUR</a:t>
            </a:r>
          </a:p>
        </p:txBody>
      </p:sp>
    </p:spTree>
    <p:extLst>
      <p:ext uri="{BB962C8B-B14F-4D97-AF65-F5344CB8AC3E}">
        <p14:creationId xmlns:p14="http://schemas.microsoft.com/office/powerpoint/2010/main" val="236702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10" grpId="0"/>
      <p:bldP spid="11" grpId="0"/>
      <p:bldP spid="20" grpId="0"/>
      <p:bldP spid="2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>
            <a:extLst>
              <a:ext uri="{FF2B5EF4-FFF2-40B4-BE49-F238E27FC236}">
                <a16:creationId xmlns:a16="http://schemas.microsoft.com/office/drawing/2014/main" id="{F8B54E86-06C5-4664-A340-D1F76A669C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0000" y="179999"/>
            <a:ext cx="11832000" cy="6489089"/>
          </a:xfrm>
          <a:solidFill>
            <a:schemeClr val="bg2"/>
          </a:solidFill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11A9B88-2A18-2F18-AF3C-7F126482ECB2}"/>
              </a:ext>
            </a:extLst>
          </p:cNvPr>
          <p:cNvSpPr/>
          <p:nvPr/>
        </p:nvSpPr>
        <p:spPr>
          <a:xfrm>
            <a:off x="180001" y="179999"/>
            <a:ext cx="11832000" cy="6498002"/>
          </a:xfrm>
          <a:prstGeom prst="rect">
            <a:avLst/>
          </a:prstGeom>
          <a:solidFill>
            <a:schemeClr val="tx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79EF0140-FD83-4844-3F7E-CC23EE8E70E5}"/>
              </a:ext>
            </a:extLst>
          </p:cNvPr>
          <p:cNvSpPr txBox="1">
            <a:spLocks/>
          </p:cNvSpPr>
          <p:nvPr/>
        </p:nvSpPr>
        <p:spPr bwMode="gray">
          <a:xfrm>
            <a:off x="2343574" y="2771789"/>
            <a:ext cx="9195838" cy="16731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5800" dirty="0">
                <a:solidFill>
                  <a:schemeClr val="bg1"/>
                </a:solidFill>
              </a:rPr>
              <a:t>Belohnen Sie das</a:t>
            </a:r>
            <a:br>
              <a:rPr lang="de-DE" sz="5800" dirty="0">
                <a:solidFill>
                  <a:schemeClr val="bg1"/>
                </a:solidFill>
              </a:rPr>
            </a:br>
            <a:r>
              <a:rPr lang="de-DE" sz="5800" b="1" dirty="0">
                <a:solidFill>
                  <a:schemeClr val="bg1"/>
                </a:solidFill>
              </a:rPr>
              <a:t>Gesundbleiben!</a:t>
            </a:r>
          </a:p>
        </p:txBody>
      </p:sp>
    </p:spTree>
    <p:extLst>
      <p:ext uri="{BB962C8B-B14F-4D97-AF65-F5344CB8AC3E}">
        <p14:creationId xmlns:p14="http://schemas.microsoft.com/office/powerpoint/2010/main" val="212024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6658FF3-8200-6E17-AB30-12DC31955B05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accent1"/>
                </a:solidFill>
              </a:rPr>
              <a:t>Extrabudget </a:t>
            </a:r>
            <a:r>
              <a:rPr lang="de-DE" sz="5400" dirty="0">
                <a:solidFill>
                  <a:schemeClr val="accent1"/>
                </a:solidFill>
              </a:rPr>
              <a:t>für Mitarbeitende</a:t>
            </a:r>
          </a:p>
        </p:txBody>
      </p:sp>
      <p:sp>
        <p:nvSpPr>
          <p:cNvPr id="8" name="Kreis: nicht ausgefüllt 7">
            <a:extLst>
              <a:ext uri="{FF2B5EF4-FFF2-40B4-BE49-F238E27FC236}">
                <a16:creationId xmlns:a16="http://schemas.microsoft.com/office/drawing/2014/main" id="{C491DC0F-4A67-A02B-08B9-F17651518F5A}"/>
              </a:ext>
            </a:extLst>
          </p:cNvPr>
          <p:cNvSpPr/>
          <p:nvPr/>
        </p:nvSpPr>
        <p:spPr>
          <a:xfrm>
            <a:off x="5314823" y="3410220"/>
            <a:ext cx="1562347" cy="1562347"/>
          </a:xfrm>
          <a:prstGeom prst="donut">
            <a:avLst>
              <a:gd name="adj" fmla="val 20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Kreis: nicht ausgefüllt 11">
            <a:extLst>
              <a:ext uri="{FF2B5EF4-FFF2-40B4-BE49-F238E27FC236}">
                <a16:creationId xmlns:a16="http://schemas.microsoft.com/office/drawing/2014/main" id="{5D6D6AFB-745A-359D-550F-32EB1A39E97D}"/>
              </a:ext>
            </a:extLst>
          </p:cNvPr>
          <p:cNvSpPr/>
          <p:nvPr/>
        </p:nvSpPr>
        <p:spPr>
          <a:xfrm>
            <a:off x="5116656" y="3205979"/>
            <a:ext cx="1958680" cy="1958680"/>
          </a:xfrm>
          <a:prstGeom prst="donut">
            <a:avLst>
              <a:gd name="adj" fmla="val 198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Kreis: nicht ausgefüllt 12">
            <a:extLst>
              <a:ext uri="{FF2B5EF4-FFF2-40B4-BE49-F238E27FC236}">
                <a16:creationId xmlns:a16="http://schemas.microsoft.com/office/drawing/2014/main" id="{889EB370-B011-42AA-BD90-AC59757C7B78}"/>
              </a:ext>
            </a:extLst>
          </p:cNvPr>
          <p:cNvSpPr/>
          <p:nvPr/>
        </p:nvSpPr>
        <p:spPr>
          <a:xfrm>
            <a:off x="4745138" y="2834461"/>
            <a:ext cx="2701715" cy="2701715"/>
          </a:xfrm>
          <a:prstGeom prst="donut">
            <a:avLst>
              <a:gd name="adj" fmla="val 188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C119FCA-E3A2-95C3-8D02-CA7D6331FEA2}"/>
              </a:ext>
            </a:extLst>
          </p:cNvPr>
          <p:cNvSpPr txBox="1"/>
          <p:nvPr/>
        </p:nvSpPr>
        <p:spPr>
          <a:xfrm>
            <a:off x="5608876" y="4035935"/>
            <a:ext cx="974243" cy="310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+ 25 %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E6EC77D-FBCF-F68F-4860-40F85466B716}"/>
              </a:ext>
            </a:extLst>
          </p:cNvPr>
          <p:cNvSpPr txBox="1">
            <a:spLocks/>
          </p:cNvSpPr>
          <p:nvPr/>
        </p:nvSpPr>
        <p:spPr bwMode="gray">
          <a:xfrm>
            <a:off x="407987" y="2157021"/>
            <a:ext cx="11376025" cy="398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Mit nur 1 EUR mehr vergrößern Sie das Budget: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02FB83B-910F-DBE3-DC5C-43BFF73F52B9}"/>
              </a:ext>
            </a:extLst>
          </p:cNvPr>
          <p:cNvSpPr txBox="1"/>
          <p:nvPr/>
        </p:nvSpPr>
        <p:spPr>
          <a:xfrm>
            <a:off x="5601564" y="4029858"/>
            <a:ext cx="974243" cy="310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400" b="1" dirty="0">
                <a:solidFill>
                  <a:schemeClr val="accent1"/>
                </a:solidFill>
              </a:rPr>
              <a:t>+ 50 %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7EEC358-AB10-25B5-61C4-57F0566A941E}"/>
              </a:ext>
            </a:extLst>
          </p:cNvPr>
          <p:cNvSpPr txBox="1"/>
          <p:nvPr/>
        </p:nvSpPr>
        <p:spPr>
          <a:xfrm>
            <a:off x="718658" y="3882667"/>
            <a:ext cx="3828314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accent1"/>
                </a:solidFill>
              </a:rPr>
              <a:t>Nach einem leistungsfreien Jahr: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922D39-5BAD-988F-2FF1-156688E8FC5B}"/>
              </a:ext>
            </a:extLst>
          </p:cNvPr>
          <p:cNvSpPr txBox="1"/>
          <p:nvPr/>
        </p:nvSpPr>
        <p:spPr>
          <a:xfrm>
            <a:off x="711346" y="3882667"/>
            <a:ext cx="3828314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accent1"/>
                </a:solidFill>
              </a:rPr>
              <a:t>Nach zwei leistungsfreien Jahren: </a:t>
            </a:r>
          </a:p>
        </p:txBody>
      </p:sp>
    </p:spTree>
    <p:extLst>
      <p:ext uri="{BB962C8B-B14F-4D97-AF65-F5344CB8AC3E}">
        <p14:creationId xmlns:p14="http://schemas.microsoft.com/office/powerpoint/2010/main" val="235677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2" grpId="1" animBg="1"/>
      <p:bldP spid="13" grpId="0" animBg="1"/>
      <p:bldP spid="17" grpId="0"/>
      <p:bldP spid="17" grpId="1"/>
      <p:bldP spid="3" grpId="0"/>
      <p:bldP spid="11" grpId="0"/>
      <p:bldP spid="11" grpId="1"/>
      <p:bldP spid="2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>
            <a:extLst>
              <a:ext uri="{FF2B5EF4-FFF2-40B4-BE49-F238E27FC236}">
                <a16:creationId xmlns:a16="http://schemas.microsoft.com/office/drawing/2014/main" id="{F8B54E86-06C5-4664-A340-D1F76A669C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0000" y="179999"/>
            <a:ext cx="11832000" cy="6489089"/>
          </a:xfrm>
          <a:solidFill>
            <a:schemeClr val="bg2"/>
          </a:solidFill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11A9B88-2A18-2F18-AF3C-7F126482ECB2}"/>
              </a:ext>
            </a:extLst>
          </p:cNvPr>
          <p:cNvSpPr/>
          <p:nvPr/>
        </p:nvSpPr>
        <p:spPr>
          <a:xfrm>
            <a:off x="180000" y="179999"/>
            <a:ext cx="11832001" cy="649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58000">
                <a:srgbClr val="000000">
                  <a:alpha val="10000"/>
                </a:srgbClr>
              </a:gs>
              <a:gs pos="74000">
                <a:schemeClr val="tx1">
                  <a:alpha val="60000"/>
                </a:schemeClr>
              </a:gs>
              <a:gs pos="94000">
                <a:schemeClr val="tx1">
                  <a:alpha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443C24D-05B3-F150-F5D7-0D914BE11128}"/>
              </a:ext>
            </a:extLst>
          </p:cNvPr>
          <p:cNvSpPr/>
          <p:nvPr/>
        </p:nvSpPr>
        <p:spPr bwMode="gray">
          <a:xfrm>
            <a:off x="407987" y="516885"/>
            <a:ext cx="116493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bg1"/>
                </a:solidFill>
              </a:rPr>
              <a:t>Viel Budget </a:t>
            </a:r>
            <a:br>
              <a:rPr lang="de-DE" sz="5400" dirty="0">
                <a:solidFill>
                  <a:schemeClr val="bg1"/>
                </a:solidFill>
              </a:rPr>
            </a:br>
            <a:r>
              <a:rPr lang="de-DE" sz="5400" dirty="0">
                <a:solidFill>
                  <a:schemeClr val="bg1"/>
                </a:solidFill>
              </a:rPr>
              <a:t>für wenig Geld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9007F48E-12A9-49BE-3411-6AAB59A42B69}"/>
              </a:ext>
            </a:extLst>
          </p:cNvPr>
          <p:cNvSpPr txBox="1">
            <a:spLocks/>
          </p:cNvSpPr>
          <p:nvPr/>
        </p:nvSpPr>
        <p:spPr bwMode="gray">
          <a:xfrm>
            <a:off x="577527" y="2271211"/>
            <a:ext cx="4919264" cy="16261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dirty="0">
                <a:solidFill>
                  <a:schemeClr val="bg1"/>
                </a:solidFill>
              </a:rPr>
              <a:t>Im Rahmen des steuerlichen Sachbezug ist die Absicherung der aktuell gültigen Maximalabsicherung sogar inklusive Extrabudget in Höhe von 1.700 EUR möglich!</a:t>
            </a:r>
          </a:p>
          <a:p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>
                <a:solidFill>
                  <a:schemeClr val="bg1"/>
                </a:solidFill>
              </a:rPr>
              <a:t>Monatsbeitrag pro Mitarbeiter 42,90 EUR</a:t>
            </a:r>
          </a:p>
        </p:txBody>
      </p:sp>
    </p:spTree>
    <p:extLst>
      <p:ext uri="{BB962C8B-B14F-4D97-AF65-F5344CB8AC3E}">
        <p14:creationId xmlns:p14="http://schemas.microsoft.com/office/powerpoint/2010/main" val="322970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A8B419E6-A6A2-481B-9B4A-42E30105923F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C66514-FA38-2033-0AD3-DB3A8F708555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6EEF578-7DEF-5B6E-5902-03E413B3B6E9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5C17785-3313-D333-46C0-C960A2DED0D0}"/>
              </a:ext>
            </a:extLst>
          </p:cNvPr>
          <p:cNvGrpSpPr/>
          <p:nvPr/>
        </p:nvGrpSpPr>
        <p:grpSpPr bwMode="gray">
          <a:xfrm>
            <a:off x="5797330" y="5074701"/>
            <a:ext cx="2683733" cy="1341867"/>
            <a:chOff x="7893983" y="1495329"/>
            <a:chExt cx="2160000" cy="1080000"/>
          </a:xfrm>
        </p:grpSpPr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436F7D32-EC3A-45A6-B0B8-CD5993FDDA5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93983" y="1495329"/>
              <a:ext cx="2160000" cy="1080000"/>
            </a:xfrm>
            <a:prstGeom prst="roundRect">
              <a:avLst>
                <a:gd name="adj" fmla="val 4509"/>
              </a:avLst>
            </a:prstGeom>
            <a:solidFill>
              <a:srgbClr val="194383"/>
            </a:solidFill>
          </p:spPr>
          <p:txBody>
            <a:bodyPr vert="horz" lIns="864000" tIns="180000" rIns="180000" bIns="180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de-DE" sz="1000" b="1" dirty="0">
                  <a:solidFill>
                    <a:schemeClr val="bg1"/>
                  </a:solidFill>
                </a:rPr>
                <a:t>Tipp: </a:t>
              </a:r>
              <a:r>
                <a:rPr lang="de-DE" sz="1000" dirty="0">
                  <a:solidFill>
                    <a:schemeClr val="bg1"/>
                  </a:solidFill>
                </a:rPr>
                <a:t>Individualisieren Sie die Titelfolie mit einem passenden Branchenbild. Wenden Sie sich bei Bedarf an am2@hansemerkur.de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65CEABA-713C-BEB1-3EAA-4780B4304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 bwMode="gray">
            <a:xfrm>
              <a:off x="8117693" y="1699422"/>
              <a:ext cx="353586" cy="671813"/>
            </a:xfrm>
            <a:prstGeom prst="rect">
              <a:avLst/>
            </a:prstGeom>
          </p:spPr>
        </p:pic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586A894C-3BD1-60A5-EE1F-2D50618E6F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9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2801ACF-B99B-D4AB-6CEF-7D15E024D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2" name="1c4681976744f49ac0798f37205d68a7">
            <a:hlinkClick r:id="" action="ppaction://media"/>
            <a:extLst>
              <a:ext uri="{FF2B5EF4-FFF2-40B4-BE49-F238E27FC236}">
                <a16:creationId xmlns:a16="http://schemas.microsoft.com/office/drawing/2014/main" id="{C32AF3C5-9634-E544-32AF-A4DFFB0C4DC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951" r="19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370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757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94084703-C2CA-AE9D-7302-DFDE30C3CECB}"/>
              </a:ext>
            </a:extLst>
          </p:cNvPr>
          <p:cNvSpPr/>
          <p:nvPr/>
        </p:nvSpPr>
        <p:spPr bwMode="gray">
          <a:xfrm>
            <a:off x="184800" y="188913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54113E8-741D-9D48-D9F7-D29D19EB48D2}"/>
              </a:ext>
            </a:extLst>
          </p:cNvPr>
          <p:cNvSpPr/>
          <p:nvPr/>
        </p:nvSpPr>
        <p:spPr bwMode="gray">
          <a:xfrm>
            <a:off x="407987" y="516885"/>
            <a:ext cx="116493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accent1"/>
                </a:solidFill>
              </a:rPr>
              <a:t>Bestimmte Bausteine </a:t>
            </a:r>
            <a:r>
              <a:rPr lang="de-DE" sz="5400" dirty="0">
                <a:solidFill>
                  <a:schemeClr val="accent1"/>
                </a:solidFill>
              </a:rPr>
              <a:t>sind Ihnen besonders wichtig?</a:t>
            </a:r>
            <a:endParaRPr lang="de-DE" sz="5400" b="1" dirty="0">
              <a:solidFill>
                <a:schemeClr val="accent1"/>
              </a:solidFill>
            </a:endParaRPr>
          </a:p>
        </p:txBody>
      </p:sp>
      <p:sp>
        <p:nvSpPr>
          <p:cNvPr id="2" name="Textplatzhalter 15">
            <a:extLst>
              <a:ext uri="{FF2B5EF4-FFF2-40B4-BE49-F238E27FC236}">
                <a16:creationId xmlns:a16="http://schemas.microsoft.com/office/drawing/2014/main" id="{FDA0C3FB-7594-95BB-3BAC-190D716E9F03}"/>
              </a:ext>
            </a:extLst>
          </p:cNvPr>
          <p:cNvSpPr txBox="1">
            <a:spLocks/>
          </p:cNvSpPr>
          <p:nvPr/>
        </p:nvSpPr>
        <p:spPr bwMode="gray">
          <a:xfrm>
            <a:off x="552364" y="2535149"/>
            <a:ext cx="8207172" cy="28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binieren Sie die die Budgettarife mit den passenden Bausteintarifen. Beispielsweise mit dem Tarif BKZT für eine zusätzliche Absicherung bei Zahnersatz.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A7FE03F-8AB4-A082-F3C9-8938A6CF53C0}"/>
              </a:ext>
            </a:extLst>
          </p:cNvPr>
          <p:cNvSpPr txBox="1"/>
          <p:nvPr/>
        </p:nvSpPr>
        <p:spPr bwMode="gray">
          <a:xfrm>
            <a:off x="407987" y="3094001"/>
            <a:ext cx="7848253" cy="281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B1BF52D-B920-18C5-AE3D-66D2417992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68292" y="3448666"/>
            <a:ext cx="1876220" cy="2192551"/>
            <a:chOff x="6991645" y="2596609"/>
            <a:chExt cx="1876220" cy="2192551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40666ED-84BE-ED06-AB97-07335FF8D94C}"/>
                </a:ext>
              </a:extLst>
            </p:cNvPr>
            <p:cNvSpPr/>
            <p:nvPr/>
          </p:nvSpPr>
          <p:spPr bwMode="gray">
            <a:xfrm>
              <a:off x="6991645" y="2596609"/>
              <a:ext cx="1876220" cy="2192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t" anchorCtr="0"/>
            <a:lstStyle/>
            <a:p>
              <a:pPr marL="180000" marR="0" lvl="0" indent="-180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C2B9FCC-CB5C-206D-397A-CBE8157D56B7}"/>
                </a:ext>
              </a:extLst>
            </p:cNvPr>
            <p:cNvSpPr txBox="1"/>
            <p:nvPr/>
          </p:nvSpPr>
          <p:spPr bwMode="gray">
            <a:xfrm>
              <a:off x="7163734" y="2762889"/>
              <a:ext cx="1704131" cy="2026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natlicher Beitra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KBT 600</a:t>
              </a:r>
              <a:b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,90 EU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KZT 50</a:t>
              </a:r>
              <a:b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00 EU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dirty="0">
                  <a:solidFill>
                    <a:prstClr val="black"/>
                  </a:solidFill>
                  <a:latin typeface="Arial"/>
                </a:rPr>
                <a:t>Gesamt</a:t>
              </a:r>
              <a:br>
                <a:rPr lang="de-DE" sz="1200" dirty="0">
                  <a:solidFill>
                    <a:prstClr val="black"/>
                  </a:solidFill>
                  <a:latin typeface="Arial"/>
                </a:rPr>
              </a:br>
              <a:r>
                <a:rPr lang="de-DE" sz="1200" dirty="0">
                  <a:solidFill>
                    <a:prstClr val="black"/>
                  </a:solidFill>
                  <a:latin typeface="Arial"/>
                </a:rPr>
                <a:t>31,70 EUR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C9558AA-8BD0-9E6B-CF30-EE3CE036EA3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4634" y="3448666"/>
            <a:ext cx="3115645" cy="2192551"/>
            <a:chOff x="407987" y="3108758"/>
            <a:chExt cx="3161272" cy="2224660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1D641BF-D81A-5078-F5BC-8D0F33B53C4C}"/>
                </a:ext>
              </a:extLst>
            </p:cNvPr>
            <p:cNvSpPr/>
            <p:nvPr/>
          </p:nvSpPr>
          <p:spPr bwMode="gray">
            <a:xfrm flipV="1">
              <a:off x="407987" y="3108758"/>
              <a:ext cx="3161272" cy="2224660"/>
            </a:xfrm>
            <a:custGeom>
              <a:avLst/>
              <a:gdLst>
                <a:gd name="connsiteX0" fmla="*/ 3073190 w 3161272"/>
                <a:gd name="connsiteY0" fmla="*/ 1366302 h 2224660"/>
                <a:gd name="connsiteX1" fmla="*/ 3072807 w 3161272"/>
                <a:gd name="connsiteY1" fmla="*/ 1366302 h 2224660"/>
                <a:gd name="connsiteX2" fmla="*/ 2977320 w 3161272"/>
                <a:gd name="connsiteY2" fmla="*/ 1418896 h 2224660"/>
                <a:gd name="connsiteX3" fmla="*/ 2976044 w 3161272"/>
                <a:gd name="connsiteY3" fmla="*/ 1420173 h 2224660"/>
                <a:gd name="connsiteX4" fmla="*/ 2799751 w 3161272"/>
                <a:gd name="connsiteY4" fmla="*/ 1494852 h 2224660"/>
                <a:gd name="connsiteX5" fmla="*/ 2502440 w 3161272"/>
                <a:gd name="connsiteY5" fmla="*/ 1112267 h 2224660"/>
                <a:gd name="connsiteX6" fmla="*/ 2799751 w 3161272"/>
                <a:gd name="connsiteY6" fmla="*/ 729682 h 2224660"/>
                <a:gd name="connsiteX7" fmla="*/ 2975405 w 3161272"/>
                <a:gd name="connsiteY7" fmla="*/ 803722 h 2224660"/>
                <a:gd name="connsiteX8" fmla="*/ 2976682 w 3161272"/>
                <a:gd name="connsiteY8" fmla="*/ 805126 h 2224660"/>
                <a:gd name="connsiteX9" fmla="*/ 3072935 w 3161272"/>
                <a:gd name="connsiteY9" fmla="*/ 858486 h 2224660"/>
                <a:gd name="connsiteX10" fmla="*/ 3161272 w 3161272"/>
                <a:gd name="connsiteY10" fmla="*/ 813296 h 2224660"/>
                <a:gd name="connsiteX11" fmla="*/ 3161272 w 3161272"/>
                <a:gd name="connsiteY11" fmla="*/ 0 h 2224660"/>
                <a:gd name="connsiteX12" fmla="*/ 0 w 3161272"/>
                <a:gd name="connsiteY12" fmla="*/ 0 h 2224660"/>
                <a:gd name="connsiteX13" fmla="*/ 0 w 3161272"/>
                <a:gd name="connsiteY13" fmla="*/ 2224661 h 2224660"/>
                <a:gd name="connsiteX14" fmla="*/ 3161272 w 3161272"/>
                <a:gd name="connsiteY14" fmla="*/ 2224661 h 2224660"/>
                <a:gd name="connsiteX15" fmla="*/ 3161272 w 3161272"/>
                <a:gd name="connsiteY15" fmla="*/ 1408301 h 2224660"/>
                <a:gd name="connsiteX16" fmla="*/ 3073062 w 3161272"/>
                <a:gd name="connsiteY16" fmla="*/ 1366302 h 222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61272" h="2224660">
                  <a:moveTo>
                    <a:pt x="3073190" y="1366302"/>
                  </a:moveTo>
                  <a:lnTo>
                    <a:pt x="3072807" y="1366302"/>
                  </a:lnTo>
                  <a:cubicBezTo>
                    <a:pt x="3039233" y="1366302"/>
                    <a:pt x="3006298" y="1384557"/>
                    <a:pt x="2977320" y="1418896"/>
                  </a:cubicBezTo>
                  <a:lnTo>
                    <a:pt x="2976044" y="1420173"/>
                  </a:lnTo>
                  <a:cubicBezTo>
                    <a:pt x="2924598" y="1469065"/>
                    <a:pt x="2863579" y="1494852"/>
                    <a:pt x="2799751" y="1494852"/>
                  </a:cubicBezTo>
                  <a:cubicBezTo>
                    <a:pt x="2635840" y="1494852"/>
                    <a:pt x="2502440" y="1323282"/>
                    <a:pt x="2502440" y="1112267"/>
                  </a:cubicBezTo>
                  <a:cubicBezTo>
                    <a:pt x="2502440" y="901251"/>
                    <a:pt x="2635840" y="729682"/>
                    <a:pt x="2799751" y="729682"/>
                  </a:cubicBezTo>
                  <a:cubicBezTo>
                    <a:pt x="2863323" y="729682"/>
                    <a:pt x="2924088" y="755340"/>
                    <a:pt x="2975405" y="803722"/>
                  </a:cubicBezTo>
                  <a:lnTo>
                    <a:pt x="2976682" y="805126"/>
                  </a:lnTo>
                  <a:cubicBezTo>
                    <a:pt x="3005277" y="839466"/>
                    <a:pt x="3038595" y="857848"/>
                    <a:pt x="3072935" y="858486"/>
                  </a:cubicBezTo>
                  <a:cubicBezTo>
                    <a:pt x="3104210" y="858997"/>
                    <a:pt x="3131911" y="845338"/>
                    <a:pt x="3161272" y="813296"/>
                  </a:cubicBezTo>
                  <a:lnTo>
                    <a:pt x="3161272" y="0"/>
                  </a:lnTo>
                  <a:lnTo>
                    <a:pt x="0" y="0"/>
                  </a:lnTo>
                  <a:lnTo>
                    <a:pt x="0" y="2224661"/>
                  </a:lnTo>
                  <a:lnTo>
                    <a:pt x="3161272" y="2224661"/>
                  </a:lnTo>
                  <a:lnTo>
                    <a:pt x="3161272" y="1408301"/>
                  </a:lnTo>
                  <a:cubicBezTo>
                    <a:pt x="3134337" y="1380982"/>
                    <a:pt x="3104083" y="1366302"/>
                    <a:pt x="3073062" y="1366302"/>
                  </a:cubicBezTo>
                  <a:close/>
                </a:path>
              </a:pathLst>
            </a:custGeom>
            <a:solidFill>
              <a:schemeClr val="accent1"/>
            </a:solidFill>
            <a:ln w="1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44DAC023-79BE-7049-D948-79E6B7569DE1}"/>
                </a:ext>
              </a:extLst>
            </p:cNvPr>
            <p:cNvSpPr txBox="1"/>
            <p:nvPr/>
          </p:nvSpPr>
          <p:spPr bwMode="gray">
            <a:xfrm>
              <a:off x="593030" y="3209035"/>
              <a:ext cx="2299065" cy="10133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0" b="1" i="0" u="none" strike="noStrike" kern="1200" cap="none" spc="0" normalizeH="0" baseline="0" noProof="0" dirty="0">
                  <a:ln w="6350">
                    <a:solidFill>
                      <a:prstClr val="white"/>
                    </a:solidFill>
                  </a:ln>
                  <a:noFill/>
                  <a:effectLst/>
                  <a:uLnTx/>
                  <a:uFillTx/>
                  <a:latin typeface="Arial"/>
                  <a:ea typeface="+mn-ea"/>
                  <a:cs typeface="+mn-cs"/>
                </a:rPr>
                <a:t>BKBT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ED2DE7D0-95A3-3E36-54E6-7D72D4CA07C3}"/>
                </a:ext>
              </a:extLst>
            </p:cNvPr>
            <p:cNvSpPr txBox="1"/>
            <p:nvPr/>
          </p:nvSpPr>
          <p:spPr bwMode="gray">
            <a:xfrm>
              <a:off x="643275" y="4224326"/>
              <a:ext cx="2299065" cy="86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0 EUR Gesundheitsbudge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ur freien Verfügung für eine Vielzahl an Leistungen.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D9079F3-7DBE-C6D4-8274-C26B9978BC9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82408" y="3448666"/>
            <a:ext cx="3766226" cy="2192551"/>
            <a:chOff x="2942340" y="3108758"/>
            <a:chExt cx="3821381" cy="222466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E5FE101-9573-FBCF-4E61-3F743E3B3898}"/>
                </a:ext>
              </a:extLst>
            </p:cNvPr>
            <p:cNvSpPr/>
            <p:nvPr/>
          </p:nvSpPr>
          <p:spPr bwMode="gray">
            <a:xfrm flipV="1">
              <a:off x="2942340" y="3108758"/>
              <a:ext cx="3821381" cy="2224660"/>
            </a:xfrm>
            <a:custGeom>
              <a:avLst/>
              <a:gdLst>
                <a:gd name="connsiteX0" fmla="*/ 3821381 w 3821381"/>
                <a:gd name="connsiteY0" fmla="*/ 0 h 2224660"/>
                <a:gd name="connsiteX1" fmla="*/ 3821381 w 3821381"/>
                <a:gd name="connsiteY1" fmla="*/ 2224661 h 2224660"/>
                <a:gd name="connsiteX2" fmla="*/ 660109 w 3821381"/>
                <a:gd name="connsiteY2" fmla="*/ 2224661 h 2224660"/>
                <a:gd name="connsiteX3" fmla="*/ 660109 w 3821381"/>
                <a:gd name="connsiteY3" fmla="*/ 1668208 h 2224660"/>
                <a:gd name="connsiteX4" fmla="*/ 658960 w 3821381"/>
                <a:gd name="connsiteY4" fmla="*/ 1668208 h 2224660"/>
                <a:gd name="connsiteX5" fmla="*/ 658960 w 3821381"/>
                <a:gd name="connsiteY5" fmla="*/ 1396046 h 2224660"/>
                <a:gd name="connsiteX6" fmla="*/ 538708 w 3821381"/>
                <a:gd name="connsiteY6" fmla="*/ 1334388 h 2224660"/>
                <a:gd name="connsiteX7" fmla="*/ 538325 w 3821381"/>
                <a:gd name="connsiteY7" fmla="*/ 1334388 h 2224660"/>
                <a:gd name="connsiteX8" fmla="*/ 419095 w 3821381"/>
                <a:gd name="connsiteY8" fmla="*/ 1397705 h 2224660"/>
                <a:gd name="connsiteX9" fmla="*/ 265397 w 3821381"/>
                <a:gd name="connsiteY9" fmla="*/ 1463065 h 2224660"/>
                <a:gd name="connsiteX10" fmla="*/ 0 w 3821381"/>
                <a:gd name="connsiteY10" fmla="*/ 1112394 h 2224660"/>
                <a:gd name="connsiteX11" fmla="*/ 265397 w 3821381"/>
                <a:gd name="connsiteY11" fmla="*/ 761723 h 2224660"/>
                <a:gd name="connsiteX12" fmla="*/ 418456 w 3821381"/>
                <a:gd name="connsiteY12" fmla="*/ 826445 h 2224660"/>
                <a:gd name="connsiteX13" fmla="*/ 538070 w 3821381"/>
                <a:gd name="connsiteY13" fmla="*/ 890528 h 2224660"/>
                <a:gd name="connsiteX14" fmla="*/ 658960 w 3821381"/>
                <a:gd name="connsiteY14" fmla="*/ 825424 h 2224660"/>
                <a:gd name="connsiteX15" fmla="*/ 658960 w 3821381"/>
                <a:gd name="connsiteY15" fmla="*/ 627684 h 2224660"/>
                <a:gd name="connsiteX16" fmla="*/ 660109 w 3821381"/>
                <a:gd name="connsiteY16" fmla="*/ 627684 h 2224660"/>
                <a:gd name="connsiteX17" fmla="*/ 660109 w 3821381"/>
                <a:gd name="connsiteY17" fmla="*/ 0 h 2224660"/>
                <a:gd name="connsiteX18" fmla="*/ 3821381 w 3821381"/>
                <a:gd name="connsiteY18" fmla="*/ 0 h 222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21381" h="2224660">
                  <a:moveTo>
                    <a:pt x="3821381" y="0"/>
                  </a:moveTo>
                  <a:lnTo>
                    <a:pt x="3821381" y="2224661"/>
                  </a:lnTo>
                  <a:lnTo>
                    <a:pt x="660109" y="2224661"/>
                  </a:lnTo>
                  <a:lnTo>
                    <a:pt x="660109" y="1668208"/>
                  </a:lnTo>
                  <a:lnTo>
                    <a:pt x="658960" y="1668208"/>
                  </a:lnTo>
                  <a:lnTo>
                    <a:pt x="658960" y="1396046"/>
                  </a:lnTo>
                  <a:cubicBezTo>
                    <a:pt x="623855" y="1356090"/>
                    <a:pt x="582366" y="1334388"/>
                    <a:pt x="538708" y="1334388"/>
                  </a:cubicBezTo>
                  <a:lnTo>
                    <a:pt x="538325" y="1334388"/>
                  </a:lnTo>
                  <a:cubicBezTo>
                    <a:pt x="495305" y="1334516"/>
                    <a:pt x="454072" y="1356473"/>
                    <a:pt x="419095" y="1397705"/>
                  </a:cubicBezTo>
                  <a:cubicBezTo>
                    <a:pt x="373777" y="1440470"/>
                    <a:pt x="320672" y="1463065"/>
                    <a:pt x="265397" y="1463065"/>
                  </a:cubicBezTo>
                  <a:cubicBezTo>
                    <a:pt x="118975" y="1463065"/>
                    <a:pt x="0" y="1305665"/>
                    <a:pt x="0" y="1112394"/>
                  </a:cubicBezTo>
                  <a:cubicBezTo>
                    <a:pt x="0" y="919123"/>
                    <a:pt x="118975" y="761723"/>
                    <a:pt x="265397" y="761723"/>
                  </a:cubicBezTo>
                  <a:cubicBezTo>
                    <a:pt x="320417" y="761723"/>
                    <a:pt x="373266" y="784063"/>
                    <a:pt x="418456" y="826445"/>
                  </a:cubicBezTo>
                  <a:cubicBezTo>
                    <a:pt x="453051" y="867550"/>
                    <a:pt x="494412" y="889762"/>
                    <a:pt x="538070" y="890528"/>
                  </a:cubicBezTo>
                  <a:cubicBezTo>
                    <a:pt x="590026" y="891549"/>
                    <a:pt x="628067" y="862444"/>
                    <a:pt x="658960" y="825424"/>
                  </a:cubicBezTo>
                  <a:lnTo>
                    <a:pt x="658960" y="627684"/>
                  </a:lnTo>
                  <a:lnTo>
                    <a:pt x="660109" y="627684"/>
                  </a:lnTo>
                  <a:lnTo>
                    <a:pt x="660109" y="0"/>
                  </a:lnTo>
                  <a:lnTo>
                    <a:pt x="3821381" y="0"/>
                  </a:lnTo>
                  <a:close/>
                </a:path>
              </a:pathLst>
            </a:custGeom>
            <a:solidFill>
              <a:schemeClr val="accent2"/>
            </a:solidFill>
            <a:ln w="1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62AFAF4A-DE0C-9A23-BCB8-33812AD8ECE7}"/>
                </a:ext>
              </a:extLst>
            </p:cNvPr>
            <p:cNvSpPr txBox="1"/>
            <p:nvPr/>
          </p:nvSpPr>
          <p:spPr bwMode="gray">
            <a:xfrm>
              <a:off x="3791897" y="3209035"/>
              <a:ext cx="2830833" cy="10133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0" b="1" i="0" u="none" strike="noStrike" kern="1200" cap="none" spc="0" normalizeH="0" baseline="0" noProof="0" dirty="0">
                  <a:ln w="6350">
                    <a:solidFill>
                      <a:prstClr val="white"/>
                    </a:solidFill>
                  </a:ln>
                  <a:noFill/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  <a:r>
                <a:rPr kumimoji="0" lang="de-DE" sz="6000" b="1" i="0" u="none" strike="noStrike" kern="1200" cap="none" spc="300" normalizeH="0" baseline="0" noProof="0" dirty="0">
                  <a:ln w="6350">
                    <a:solidFill>
                      <a:prstClr val="white"/>
                    </a:solidFill>
                  </a:ln>
                  <a:noFill/>
                  <a:effectLst/>
                  <a:uLnTx/>
                  <a:uFillTx/>
                  <a:latin typeface="Arial"/>
                  <a:ea typeface="+mn-ea"/>
                  <a:cs typeface="+mn-cs"/>
                </a:rPr>
                <a:t>K</a:t>
              </a:r>
              <a:r>
                <a:rPr kumimoji="0" lang="de-DE" sz="6000" b="1" i="0" u="none" strike="noStrike" kern="1200" cap="none" spc="0" normalizeH="0" baseline="0" noProof="0" dirty="0">
                  <a:ln w="6350">
                    <a:solidFill>
                      <a:prstClr val="white"/>
                    </a:solidFill>
                  </a:ln>
                  <a:noFill/>
                  <a:effectLst/>
                  <a:uLnTx/>
                  <a:uFillTx/>
                  <a:latin typeface="Arial"/>
                  <a:ea typeface="+mn-ea"/>
                  <a:cs typeface="+mn-cs"/>
                </a:rPr>
                <a:t>ZT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79F2341-AF29-9745-4239-84ED7EEBA595}"/>
                </a:ext>
              </a:extLst>
            </p:cNvPr>
            <p:cNvSpPr txBox="1"/>
            <p:nvPr/>
          </p:nvSpPr>
          <p:spPr bwMode="gray">
            <a:xfrm>
              <a:off x="3817324" y="4169348"/>
              <a:ext cx="2830833" cy="86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 % Erstattung auf privatzahn-</a:t>
              </a:r>
              <a:b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ärztlichem Niveau ohne Zahnstaffel und mit möglichen Leistungen oberhalb der Gebührenordnung für Zahnärzte (GOZ) oder Ärzte (GOÄ)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947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406 -0.00023 L -0.00026 -0.00023 " pathEditMode="relative" rAng="0" ptsTypes="AA">
                                      <p:cBhvr>
                                        <p:cTn id="15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0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19 -0.00023 L 0.00013 -0.00023 " pathEditMode="relative" rAng="0" ptsTypes="AA">
                                      <p:cBhvr>
                                        <p:cTn id="20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94084703-C2CA-AE9D-7302-DFDE30C3CECB}"/>
              </a:ext>
            </a:extLst>
          </p:cNvPr>
          <p:cNvSpPr/>
          <p:nvPr/>
        </p:nvSpPr>
        <p:spPr bwMode="gray">
          <a:xfrm>
            <a:off x="184800" y="192422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>
              <a:spcAft>
                <a:spcPts val="600"/>
              </a:spcAft>
            </a:pPr>
            <a:endParaRPr lang="de-DE" sz="16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8585F1-F298-E204-4CA1-615E7996D2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54113E8-741D-9D48-D9F7-D29D19EB48D2}"/>
              </a:ext>
            </a:extLst>
          </p:cNvPr>
          <p:cNvSpPr/>
          <p:nvPr/>
        </p:nvSpPr>
        <p:spPr bwMode="gray">
          <a:xfrm>
            <a:off x="407987" y="516885"/>
            <a:ext cx="116493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accent1"/>
                </a:solidFill>
              </a:rPr>
              <a:t>Bieten Sie Ihren </a:t>
            </a:r>
            <a:br>
              <a:rPr lang="de-DE" sz="5400" dirty="0">
                <a:solidFill>
                  <a:schemeClr val="accent1"/>
                </a:solidFill>
              </a:rPr>
            </a:br>
            <a:r>
              <a:rPr lang="de-DE" sz="5400" dirty="0">
                <a:solidFill>
                  <a:schemeClr val="accent1"/>
                </a:solidFill>
              </a:rPr>
              <a:t>Mitarbeitern mehr</a:t>
            </a:r>
            <a:endParaRPr lang="de-DE" sz="5400" b="1" dirty="0">
              <a:solidFill>
                <a:schemeClr val="accent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A092E58-4AD7-C7C1-8729-3819C4BBACBC}"/>
              </a:ext>
            </a:extLst>
          </p:cNvPr>
          <p:cNvSpPr txBox="1"/>
          <p:nvPr/>
        </p:nvSpPr>
        <p:spPr>
          <a:xfrm>
            <a:off x="452144" y="4138601"/>
            <a:ext cx="6093994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endParaRPr lang="de-DE" sz="16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0EABE68-A127-4BA9-EEEA-F906A0123916}"/>
              </a:ext>
            </a:extLst>
          </p:cNvPr>
          <p:cNvSpPr txBox="1"/>
          <p:nvPr/>
        </p:nvSpPr>
        <p:spPr>
          <a:xfrm>
            <a:off x="6276805" y="3108373"/>
            <a:ext cx="5499395" cy="233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1800" b="1" dirty="0"/>
              <a:t>Vorteile:</a:t>
            </a:r>
          </a:p>
          <a:p>
            <a: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800" dirty="0"/>
              <a:t>Unterbringung im Ein-Bett-Zimmer</a:t>
            </a:r>
          </a:p>
          <a:p>
            <a: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Chefarzt-/Spezialistenbehandlung</a:t>
            </a:r>
          </a:p>
          <a:p>
            <a: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800" dirty="0"/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de-DE" dirty="0"/>
              <a:t>Der Beitrag ist abhängig vom Durchschnittsalter Ihrer Belegschaft. Zum Beispiel 40 Jahre: </a:t>
            </a:r>
            <a:br>
              <a:rPr lang="de-DE" dirty="0"/>
            </a:br>
            <a:r>
              <a:rPr lang="de-DE" dirty="0"/>
              <a:t>24,40 EUR pro Mitarbeiter pro Monat.</a:t>
            </a:r>
            <a:endParaRPr lang="de-DE" sz="18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C22117A-CEC2-616F-7452-72FE944AE469}"/>
              </a:ext>
            </a:extLst>
          </p:cNvPr>
          <p:cNvSpPr txBox="1"/>
          <p:nvPr/>
        </p:nvSpPr>
        <p:spPr>
          <a:xfrm>
            <a:off x="452144" y="3095339"/>
            <a:ext cx="5499394" cy="170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800" b="1" dirty="0">
                <a:solidFill>
                  <a:schemeClr val="accent1"/>
                </a:solidFill>
              </a:rPr>
              <a:t> Beispiel</a:t>
            </a:r>
          </a:p>
          <a:p>
            <a:pPr>
              <a:spcAft>
                <a:spcPts val="600"/>
              </a:spcAft>
            </a:pPr>
            <a:r>
              <a:rPr lang="de-DE" sz="1800" dirty="0"/>
              <a:t>Ein Mitarbeiter muss ins Krankenhaus. Sorgen Sie dafür, dass er möglichst schnell wieder gesund wird.</a:t>
            </a:r>
          </a:p>
          <a:p>
            <a:pPr>
              <a:spcAft>
                <a:spcPts val="600"/>
              </a:spcAft>
            </a:pPr>
            <a:br>
              <a:rPr lang="de-DE" sz="1800" dirty="0"/>
            </a:br>
            <a:endParaRPr lang="de-DE" sz="1800" dirty="0"/>
          </a:p>
        </p:txBody>
      </p:sp>
      <p:grpSp>
        <p:nvGrpSpPr>
          <p:cNvPr id="7" name="Grafik 64">
            <a:extLst>
              <a:ext uri="{FF2B5EF4-FFF2-40B4-BE49-F238E27FC236}">
                <a16:creationId xmlns:a16="http://schemas.microsoft.com/office/drawing/2014/main" id="{C656FFDD-6233-6D00-392F-110F2FD19F7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379" y="2503384"/>
            <a:ext cx="540000" cy="540000"/>
            <a:chOff x="4391025" y="1724025"/>
            <a:chExt cx="3409950" cy="3409950"/>
          </a:xfrm>
          <a:solidFill>
            <a:schemeClr val="accent1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0DBC1DC-327E-CA1A-850C-4B5C1286EB16}"/>
                </a:ext>
              </a:extLst>
            </p:cNvPr>
            <p:cNvSpPr/>
            <p:nvPr/>
          </p:nvSpPr>
          <p:spPr bwMode="gray">
            <a:xfrm>
              <a:off x="5813203" y="2385060"/>
              <a:ext cx="561975" cy="561975"/>
            </a:xfrm>
            <a:custGeom>
              <a:avLst/>
              <a:gdLst>
                <a:gd name="connsiteX0" fmla="*/ 0 w 561975"/>
                <a:gd name="connsiteY0" fmla="*/ 284798 h 561975"/>
                <a:gd name="connsiteX1" fmla="*/ 284702 w 561975"/>
                <a:gd name="connsiteY1" fmla="*/ 565785 h 561975"/>
                <a:gd name="connsiteX2" fmla="*/ 569405 w 561975"/>
                <a:gd name="connsiteY2" fmla="*/ 281083 h 561975"/>
                <a:gd name="connsiteX3" fmla="*/ 284702 w 561975"/>
                <a:gd name="connsiteY3" fmla="*/ 0 h 561975"/>
                <a:gd name="connsiteX4" fmla="*/ 0 w 561975"/>
                <a:gd name="connsiteY4" fmla="*/ 284798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975" h="561975">
                  <a:moveTo>
                    <a:pt x="0" y="284798"/>
                  </a:moveTo>
                  <a:cubicBezTo>
                    <a:pt x="0" y="436436"/>
                    <a:pt x="125635" y="565785"/>
                    <a:pt x="284702" y="565785"/>
                  </a:cubicBezTo>
                  <a:cubicBezTo>
                    <a:pt x="443770" y="565785"/>
                    <a:pt x="569405" y="436436"/>
                    <a:pt x="569405" y="281083"/>
                  </a:cubicBezTo>
                  <a:cubicBezTo>
                    <a:pt x="569405" y="125730"/>
                    <a:pt x="443770" y="0"/>
                    <a:pt x="284702" y="0"/>
                  </a:cubicBezTo>
                  <a:cubicBezTo>
                    <a:pt x="125635" y="0"/>
                    <a:pt x="0" y="125730"/>
                    <a:pt x="0" y="2847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1E1076F-EE63-1ED1-133F-68BEA3EB6C99}"/>
                </a:ext>
              </a:extLst>
            </p:cNvPr>
            <p:cNvSpPr/>
            <p:nvPr/>
          </p:nvSpPr>
          <p:spPr bwMode="gray">
            <a:xfrm>
              <a:off x="5813203" y="3140678"/>
              <a:ext cx="561975" cy="1323975"/>
            </a:xfrm>
            <a:custGeom>
              <a:avLst/>
              <a:gdLst>
                <a:gd name="connsiteX0" fmla="*/ 0 w 561975"/>
                <a:gd name="connsiteY0" fmla="*/ 0 h 1323975"/>
                <a:gd name="connsiteX1" fmla="*/ 569500 w 561975"/>
                <a:gd name="connsiteY1" fmla="*/ 0 h 1323975"/>
                <a:gd name="connsiteX2" fmla="*/ 569500 w 561975"/>
                <a:gd name="connsiteY2" fmla="*/ 1328737 h 1323975"/>
                <a:gd name="connsiteX3" fmla="*/ 0 w 561975"/>
                <a:gd name="connsiteY3" fmla="*/ 1328737 h 13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975" h="1323975">
                  <a:moveTo>
                    <a:pt x="0" y="0"/>
                  </a:moveTo>
                  <a:lnTo>
                    <a:pt x="569500" y="0"/>
                  </a:lnTo>
                  <a:lnTo>
                    <a:pt x="569500" y="1328737"/>
                  </a:lnTo>
                  <a:lnTo>
                    <a:pt x="0" y="13287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C523D05-29FB-F4AF-E8F3-9B2AF1C3B96A}"/>
                </a:ext>
              </a:extLst>
            </p:cNvPr>
            <p:cNvSpPr/>
            <p:nvPr/>
          </p:nvSpPr>
          <p:spPr bwMode="gray">
            <a:xfrm>
              <a:off x="6192869" y="3503867"/>
              <a:ext cx="1600200" cy="1619250"/>
            </a:xfrm>
            <a:custGeom>
              <a:avLst/>
              <a:gdLst>
                <a:gd name="connsiteX0" fmla="*/ 1417892 w 1600200"/>
                <a:gd name="connsiteY0" fmla="*/ 0 h 1619250"/>
                <a:gd name="connsiteX1" fmla="*/ 0 w 1600200"/>
                <a:gd name="connsiteY1" fmla="*/ 1437703 h 1619250"/>
                <a:gd name="connsiteX2" fmla="*/ 0 w 1600200"/>
                <a:gd name="connsiteY2" fmla="*/ 1627537 h 1619250"/>
                <a:gd name="connsiteX3" fmla="*/ 1607725 w 1600200"/>
                <a:gd name="connsiteY3" fmla="*/ 0 h 1619250"/>
                <a:gd name="connsiteX4" fmla="*/ 1417892 w 1600200"/>
                <a:gd name="connsiteY4" fmla="*/ 0 h 161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619250">
                  <a:moveTo>
                    <a:pt x="1417892" y="0"/>
                  </a:moveTo>
                  <a:cubicBezTo>
                    <a:pt x="1379506" y="769525"/>
                    <a:pt x="766858" y="1388840"/>
                    <a:pt x="0" y="1437703"/>
                  </a:cubicBezTo>
                  <a:lnTo>
                    <a:pt x="0" y="1627537"/>
                  </a:lnTo>
                  <a:cubicBezTo>
                    <a:pt x="872776" y="1578388"/>
                    <a:pt x="1569053" y="875538"/>
                    <a:pt x="1607725" y="0"/>
                  </a:cubicBezTo>
                  <a:cubicBezTo>
                    <a:pt x="1607630" y="0"/>
                    <a:pt x="1417892" y="0"/>
                    <a:pt x="141789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D3A9C35A-571F-0B8F-9923-BA936F32C41F}"/>
                </a:ext>
              </a:extLst>
            </p:cNvPr>
            <p:cNvSpPr/>
            <p:nvPr/>
          </p:nvSpPr>
          <p:spPr bwMode="gray">
            <a:xfrm>
              <a:off x="6192869" y="1724311"/>
              <a:ext cx="1600200" cy="1581150"/>
            </a:xfrm>
            <a:custGeom>
              <a:avLst/>
              <a:gdLst>
                <a:gd name="connsiteX0" fmla="*/ 1416082 w 1600200"/>
                <a:gd name="connsiteY0" fmla="*/ 1589818 h 1581150"/>
                <a:gd name="connsiteX1" fmla="*/ 1605915 w 1600200"/>
                <a:gd name="connsiteY1" fmla="*/ 1589818 h 1581150"/>
                <a:gd name="connsiteX2" fmla="*/ 0 w 1600200"/>
                <a:gd name="connsiteY2" fmla="*/ 0 h 1581150"/>
                <a:gd name="connsiteX3" fmla="*/ 0 w 1600200"/>
                <a:gd name="connsiteY3" fmla="*/ 189833 h 1581150"/>
                <a:gd name="connsiteX4" fmla="*/ 1416082 w 1600200"/>
                <a:gd name="connsiteY4" fmla="*/ 1589818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581150">
                  <a:moveTo>
                    <a:pt x="1416082" y="1589818"/>
                  </a:moveTo>
                  <a:lnTo>
                    <a:pt x="1605915" y="1589818"/>
                  </a:lnTo>
                  <a:cubicBezTo>
                    <a:pt x="1549146" y="731901"/>
                    <a:pt x="860203" y="48387"/>
                    <a:pt x="0" y="0"/>
                  </a:cubicBezTo>
                  <a:lnTo>
                    <a:pt x="0" y="189833"/>
                  </a:lnTo>
                  <a:cubicBezTo>
                    <a:pt x="754285" y="237839"/>
                    <a:pt x="1359884" y="837819"/>
                    <a:pt x="1416082" y="15898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8D8D0D2-8D14-8BD9-7A91-8399A94E2A61}"/>
                </a:ext>
              </a:extLst>
            </p:cNvPr>
            <p:cNvSpPr/>
            <p:nvPr/>
          </p:nvSpPr>
          <p:spPr bwMode="gray">
            <a:xfrm>
              <a:off x="4392835" y="1724025"/>
              <a:ext cx="1609725" cy="1581150"/>
            </a:xfrm>
            <a:custGeom>
              <a:avLst/>
              <a:gdLst>
                <a:gd name="connsiteX0" fmla="*/ 1610201 w 1609725"/>
                <a:gd name="connsiteY0" fmla="*/ 189833 h 1581150"/>
                <a:gd name="connsiteX1" fmla="*/ 1610201 w 1609725"/>
                <a:gd name="connsiteY1" fmla="*/ 0 h 1581150"/>
                <a:gd name="connsiteX2" fmla="*/ 0 w 1609725"/>
                <a:gd name="connsiteY2" fmla="*/ 1590104 h 1581150"/>
                <a:gd name="connsiteX3" fmla="*/ 189833 w 1609725"/>
                <a:gd name="connsiteY3" fmla="*/ 1590104 h 1581150"/>
                <a:gd name="connsiteX4" fmla="*/ 1610201 w 1609725"/>
                <a:gd name="connsiteY4" fmla="*/ 189833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725" h="1581150">
                  <a:moveTo>
                    <a:pt x="1610201" y="189833"/>
                  </a:moveTo>
                  <a:lnTo>
                    <a:pt x="1610201" y="0"/>
                  </a:lnTo>
                  <a:cubicBezTo>
                    <a:pt x="747903" y="46387"/>
                    <a:pt x="56864" y="730758"/>
                    <a:pt x="0" y="1590104"/>
                  </a:cubicBezTo>
                  <a:lnTo>
                    <a:pt x="189833" y="1590104"/>
                  </a:lnTo>
                  <a:cubicBezTo>
                    <a:pt x="246126" y="836771"/>
                    <a:pt x="853821" y="235934"/>
                    <a:pt x="1610201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C8617D23-EF0C-CFCE-9840-3843B5251888}"/>
                </a:ext>
              </a:extLst>
            </p:cNvPr>
            <p:cNvSpPr/>
            <p:nvPr/>
          </p:nvSpPr>
          <p:spPr bwMode="gray">
            <a:xfrm>
              <a:off x="4391025" y="3503867"/>
              <a:ext cx="1609725" cy="1619250"/>
            </a:xfrm>
            <a:custGeom>
              <a:avLst/>
              <a:gdLst>
                <a:gd name="connsiteX0" fmla="*/ 189833 w 1609725"/>
                <a:gd name="connsiteY0" fmla="*/ 0 h 1619250"/>
                <a:gd name="connsiteX1" fmla="*/ 0 w 1609725"/>
                <a:gd name="connsiteY1" fmla="*/ 0 h 1619250"/>
                <a:gd name="connsiteX2" fmla="*/ 1612011 w 1609725"/>
                <a:gd name="connsiteY2" fmla="*/ 1627823 h 1619250"/>
                <a:gd name="connsiteX3" fmla="*/ 1612011 w 1609725"/>
                <a:gd name="connsiteY3" fmla="*/ 1437989 h 1619250"/>
                <a:gd name="connsiteX4" fmla="*/ 189833 w 1609725"/>
                <a:gd name="connsiteY4" fmla="*/ 0 h 161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725" h="1619250">
                  <a:moveTo>
                    <a:pt x="189833" y="0"/>
                  </a:moveTo>
                  <a:lnTo>
                    <a:pt x="0" y="0"/>
                  </a:lnTo>
                  <a:cubicBezTo>
                    <a:pt x="38767" y="876967"/>
                    <a:pt x="737045" y="1580674"/>
                    <a:pt x="1612011" y="1627823"/>
                  </a:cubicBezTo>
                  <a:lnTo>
                    <a:pt x="1612011" y="1437989"/>
                  </a:lnTo>
                  <a:cubicBezTo>
                    <a:pt x="843058" y="1391126"/>
                    <a:pt x="228219" y="771049"/>
                    <a:pt x="18983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72678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94084703-C2CA-AE9D-7302-DFDE30C3CECB}"/>
              </a:ext>
            </a:extLst>
          </p:cNvPr>
          <p:cNvSpPr/>
          <p:nvPr/>
        </p:nvSpPr>
        <p:spPr bwMode="gray">
          <a:xfrm>
            <a:off x="184800" y="192422"/>
            <a:ext cx="11822400" cy="64801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>
              <a:spcAft>
                <a:spcPts val="600"/>
              </a:spcAft>
            </a:pPr>
            <a:endParaRPr lang="de-DE" sz="16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8585F1-F298-E204-4CA1-615E7996D2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E54113E8-741D-9D48-D9F7-D29D19EB48D2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Bausteine, </a:t>
            </a:r>
            <a:r>
              <a:rPr lang="de-DE" sz="5400" b="1" dirty="0">
                <a:solidFill>
                  <a:schemeClr val="accent1"/>
                </a:solidFill>
              </a:rPr>
              <a:t>die sonst keiner ha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A092E58-4AD7-C7C1-8729-3819C4BBACBC}"/>
              </a:ext>
            </a:extLst>
          </p:cNvPr>
          <p:cNvSpPr txBox="1"/>
          <p:nvPr/>
        </p:nvSpPr>
        <p:spPr>
          <a:xfrm>
            <a:off x="452144" y="4138601"/>
            <a:ext cx="6093994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endParaRPr lang="de-DE" sz="1600" dirty="0"/>
          </a:p>
        </p:txBody>
      </p:sp>
      <p:grpSp>
        <p:nvGrpSpPr>
          <p:cNvPr id="2" name="Grafik 316">
            <a:extLst>
              <a:ext uri="{FF2B5EF4-FFF2-40B4-BE49-F238E27FC236}">
                <a16:creationId xmlns:a16="http://schemas.microsoft.com/office/drawing/2014/main" id="{76316F8E-D6A4-395E-4367-75208F28FA2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2827" y="2453943"/>
            <a:ext cx="607500" cy="540000"/>
            <a:chOff x="3738562" y="1333500"/>
            <a:chExt cx="4714875" cy="4191000"/>
          </a:xfrm>
          <a:solidFill>
            <a:schemeClr val="accent1"/>
          </a:solidFill>
        </p:grpSpPr>
        <p:sp>
          <p:nvSpPr>
            <p:cNvPr id="3" name="Freihandform: Form 318">
              <a:extLst>
                <a:ext uri="{FF2B5EF4-FFF2-40B4-BE49-F238E27FC236}">
                  <a16:creationId xmlns:a16="http://schemas.microsoft.com/office/drawing/2014/main" id="{B0F08D6F-1065-22DA-CDDD-880F3AAC9EA9}"/>
                </a:ext>
              </a:extLst>
            </p:cNvPr>
            <p:cNvSpPr/>
            <p:nvPr/>
          </p:nvSpPr>
          <p:spPr bwMode="gray">
            <a:xfrm>
              <a:off x="3738753" y="3954494"/>
              <a:ext cx="781050" cy="1304925"/>
            </a:xfrm>
            <a:custGeom>
              <a:avLst/>
              <a:gdLst>
                <a:gd name="connsiteX0" fmla="*/ 0 w 781050"/>
                <a:gd name="connsiteY0" fmla="*/ 0 h 1304925"/>
                <a:gd name="connsiteX1" fmla="*/ 786098 w 781050"/>
                <a:gd name="connsiteY1" fmla="*/ 0 h 1304925"/>
                <a:gd name="connsiteX2" fmla="*/ 786098 w 781050"/>
                <a:gd name="connsiteY2" fmla="*/ 1310355 h 1304925"/>
                <a:gd name="connsiteX3" fmla="*/ 0 w 781050"/>
                <a:gd name="connsiteY3" fmla="*/ 1310355 h 130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050" h="1304925">
                  <a:moveTo>
                    <a:pt x="0" y="0"/>
                  </a:moveTo>
                  <a:lnTo>
                    <a:pt x="786098" y="0"/>
                  </a:lnTo>
                  <a:lnTo>
                    <a:pt x="786098" y="1310355"/>
                  </a:lnTo>
                  <a:lnTo>
                    <a:pt x="0" y="13103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  <p:sp>
          <p:nvSpPr>
            <p:cNvPr id="4" name="Freihandform: Form 319">
              <a:extLst>
                <a:ext uri="{FF2B5EF4-FFF2-40B4-BE49-F238E27FC236}">
                  <a16:creationId xmlns:a16="http://schemas.microsoft.com/office/drawing/2014/main" id="{D7EE5E59-D283-B7B5-1834-1C73ECB2E752}"/>
                </a:ext>
              </a:extLst>
            </p:cNvPr>
            <p:cNvSpPr/>
            <p:nvPr/>
          </p:nvSpPr>
          <p:spPr bwMode="gray">
            <a:xfrm>
              <a:off x="4788979" y="3732689"/>
              <a:ext cx="2066925" cy="1066800"/>
            </a:xfrm>
            <a:custGeom>
              <a:avLst/>
              <a:gdLst>
                <a:gd name="connsiteX0" fmla="*/ 1264349 w 2066925"/>
                <a:gd name="connsiteY0" fmla="*/ 318484 h 1066800"/>
                <a:gd name="connsiteX1" fmla="*/ 1748504 w 2066925"/>
                <a:gd name="connsiteY1" fmla="*/ 666147 h 1066800"/>
                <a:gd name="connsiteX2" fmla="*/ 1793557 w 2066925"/>
                <a:gd name="connsiteY2" fmla="*/ 801211 h 1066800"/>
                <a:gd name="connsiteX3" fmla="*/ 1631823 w 2066925"/>
                <a:gd name="connsiteY3" fmla="*/ 760349 h 1066800"/>
                <a:gd name="connsiteX4" fmla="*/ 1165098 w 2066925"/>
                <a:gd name="connsiteY4" fmla="*/ 451263 h 1066800"/>
                <a:gd name="connsiteX5" fmla="*/ 1022223 w 2066925"/>
                <a:gd name="connsiteY5" fmla="*/ 665766 h 1066800"/>
                <a:gd name="connsiteX6" fmla="*/ 1497139 w 2066925"/>
                <a:gd name="connsiteY6" fmla="*/ 982377 h 1066800"/>
                <a:gd name="connsiteX7" fmla="*/ 2005013 w 2066925"/>
                <a:gd name="connsiteY7" fmla="*/ 952278 h 1066800"/>
                <a:gd name="connsiteX8" fmla="*/ 1863281 w 2066925"/>
                <a:gd name="connsiteY8" fmla="*/ 422212 h 1066800"/>
                <a:gd name="connsiteX9" fmla="*/ 1412272 w 2066925"/>
                <a:gd name="connsiteY9" fmla="*/ 101410 h 1066800"/>
                <a:gd name="connsiteX10" fmla="*/ 1019556 w 2066925"/>
                <a:gd name="connsiteY10" fmla="*/ 5588 h 1066800"/>
                <a:gd name="connsiteX11" fmla="*/ 0 w 2066925"/>
                <a:gd name="connsiteY11" fmla="*/ 219996 h 1066800"/>
                <a:gd name="connsiteX12" fmla="*/ 0 w 2066925"/>
                <a:gd name="connsiteY12" fmla="*/ 492411 h 1066800"/>
                <a:gd name="connsiteX13" fmla="*/ 1057751 w 2066925"/>
                <a:gd name="connsiteY13" fmla="*/ 263620 h 1066800"/>
                <a:gd name="connsiteX14" fmla="*/ 1264349 w 2066925"/>
                <a:gd name="connsiteY14" fmla="*/ 318484 h 106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66925" h="1066800">
                  <a:moveTo>
                    <a:pt x="1264349" y="318484"/>
                  </a:moveTo>
                  <a:lnTo>
                    <a:pt x="1748504" y="666147"/>
                  </a:lnTo>
                  <a:cubicBezTo>
                    <a:pt x="1791748" y="696913"/>
                    <a:pt x="1842706" y="752062"/>
                    <a:pt x="1793557" y="801211"/>
                  </a:cubicBezTo>
                  <a:cubicBezTo>
                    <a:pt x="1750600" y="844169"/>
                    <a:pt x="1677448" y="793115"/>
                    <a:pt x="1631823" y="760349"/>
                  </a:cubicBezTo>
                  <a:lnTo>
                    <a:pt x="1165098" y="451263"/>
                  </a:lnTo>
                  <a:lnTo>
                    <a:pt x="1022223" y="665766"/>
                  </a:lnTo>
                  <a:cubicBezTo>
                    <a:pt x="1022223" y="665766"/>
                    <a:pt x="1375505" y="907701"/>
                    <a:pt x="1497139" y="982377"/>
                  </a:cubicBezTo>
                  <a:cubicBezTo>
                    <a:pt x="1781842" y="1157351"/>
                    <a:pt x="1925479" y="1045242"/>
                    <a:pt x="2005013" y="952278"/>
                  </a:cubicBezTo>
                  <a:cubicBezTo>
                    <a:pt x="2074355" y="870934"/>
                    <a:pt x="2166842" y="634905"/>
                    <a:pt x="1863281" y="422212"/>
                  </a:cubicBezTo>
                  <a:cubicBezTo>
                    <a:pt x="1744789" y="339249"/>
                    <a:pt x="1412272" y="101410"/>
                    <a:pt x="1412272" y="101410"/>
                  </a:cubicBezTo>
                  <a:cubicBezTo>
                    <a:pt x="1297972" y="19685"/>
                    <a:pt x="1158335" y="-14414"/>
                    <a:pt x="1019556" y="5588"/>
                  </a:cubicBezTo>
                  <a:lnTo>
                    <a:pt x="0" y="219996"/>
                  </a:lnTo>
                  <a:lnTo>
                    <a:pt x="0" y="492411"/>
                  </a:lnTo>
                  <a:lnTo>
                    <a:pt x="1057751" y="263620"/>
                  </a:lnTo>
                  <a:cubicBezTo>
                    <a:pt x="1135094" y="253714"/>
                    <a:pt x="1201007" y="272860"/>
                    <a:pt x="1264349" y="3184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  <p:sp>
          <p:nvSpPr>
            <p:cNvPr id="9" name="Freihandform: Form 320">
              <a:extLst>
                <a:ext uri="{FF2B5EF4-FFF2-40B4-BE49-F238E27FC236}">
                  <a16:creationId xmlns:a16="http://schemas.microsoft.com/office/drawing/2014/main" id="{24F0E078-F03C-BEE9-3766-5444F8D223F1}"/>
                </a:ext>
              </a:extLst>
            </p:cNvPr>
            <p:cNvSpPr/>
            <p:nvPr/>
          </p:nvSpPr>
          <p:spPr bwMode="gray">
            <a:xfrm>
              <a:off x="4788598" y="3821139"/>
              <a:ext cx="3657600" cy="1695450"/>
            </a:xfrm>
            <a:custGeom>
              <a:avLst/>
              <a:gdLst>
                <a:gd name="connsiteX0" fmla="*/ 3631692 w 3657600"/>
                <a:gd name="connsiteY0" fmla="*/ 180504 h 1695450"/>
                <a:gd name="connsiteX1" fmla="*/ 3279458 w 3657600"/>
                <a:gd name="connsiteY1" fmla="*/ 10578 h 1695450"/>
                <a:gd name="connsiteX2" fmla="*/ 2229041 w 3657600"/>
                <a:gd name="connsiteY2" fmla="*/ 321760 h 1695450"/>
                <a:gd name="connsiteX3" fmla="*/ 2321147 w 3657600"/>
                <a:gd name="connsiteY3" fmla="*/ 569124 h 1695450"/>
                <a:gd name="connsiteX4" fmla="*/ 3240501 w 3657600"/>
                <a:gd name="connsiteY4" fmla="*/ 294328 h 1695450"/>
                <a:gd name="connsiteX5" fmla="*/ 3404902 w 3657600"/>
                <a:gd name="connsiteY5" fmla="*/ 297090 h 1695450"/>
                <a:gd name="connsiteX6" fmla="*/ 3299841 w 3657600"/>
                <a:gd name="connsiteY6" fmla="*/ 442537 h 1695450"/>
                <a:gd name="connsiteX7" fmla="*/ 1605439 w 3657600"/>
                <a:gd name="connsiteY7" fmla="*/ 1439423 h 1695450"/>
                <a:gd name="connsiteX8" fmla="*/ 0 w 3657600"/>
                <a:gd name="connsiteY8" fmla="*/ 1173390 h 1695450"/>
                <a:gd name="connsiteX9" fmla="*/ 0 w 3657600"/>
                <a:gd name="connsiteY9" fmla="*/ 1443709 h 1695450"/>
                <a:gd name="connsiteX10" fmla="*/ 1638205 w 3657600"/>
                <a:gd name="connsiteY10" fmla="*/ 1703456 h 1695450"/>
                <a:gd name="connsiteX11" fmla="*/ 3568065 w 3657600"/>
                <a:gd name="connsiteY11" fmla="*/ 579601 h 1695450"/>
                <a:gd name="connsiteX12" fmla="*/ 3631692 w 3657600"/>
                <a:gd name="connsiteY12" fmla="*/ 180504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1695450">
                  <a:moveTo>
                    <a:pt x="3631692" y="180504"/>
                  </a:moveTo>
                  <a:cubicBezTo>
                    <a:pt x="3572637" y="62203"/>
                    <a:pt x="3447479" y="-32475"/>
                    <a:pt x="3279458" y="10578"/>
                  </a:cubicBezTo>
                  <a:lnTo>
                    <a:pt x="2229041" y="321760"/>
                  </a:lnTo>
                  <a:lnTo>
                    <a:pt x="2321147" y="569124"/>
                  </a:lnTo>
                  <a:cubicBezTo>
                    <a:pt x="2321147" y="569124"/>
                    <a:pt x="3010281" y="359860"/>
                    <a:pt x="3240501" y="294328"/>
                  </a:cubicBezTo>
                  <a:cubicBezTo>
                    <a:pt x="3322511" y="270991"/>
                    <a:pt x="3384518" y="241749"/>
                    <a:pt x="3404902" y="297090"/>
                  </a:cubicBezTo>
                  <a:cubicBezTo>
                    <a:pt x="3431381" y="368813"/>
                    <a:pt x="3377660" y="394816"/>
                    <a:pt x="3299841" y="442537"/>
                  </a:cubicBezTo>
                  <a:cubicBezTo>
                    <a:pt x="3106198" y="561313"/>
                    <a:pt x="1737932" y="1439423"/>
                    <a:pt x="1605439" y="1439423"/>
                  </a:cubicBezTo>
                  <a:cubicBezTo>
                    <a:pt x="1411605" y="1439423"/>
                    <a:pt x="0" y="1173390"/>
                    <a:pt x="0" y="1173390"/>
                  </a:cubicBezTo>
                  <a:lnTo>
                    <a:pt x="0" y="1443709"/>
                  </a:lnTo>
                  <a:cubicBezTo>
                    <a:pt x="0" y="1443709"/>
                    <a:pt x="1451896" y="1703456"/>
                    <a:pt x="1638205" y="1703456"/>
                  </a:cubicBezTo>
                  <a:cubicBezTo>
                    <a:pt x="1839468" y="1703456"/>
                    <a:pt x="3568065" y="579601"/>
                    <a:pt x="3568065" y="579601"/>
                  </a:cubicBezTo>
                  <a:cubicBezTo>
                    <a:pt x="3678651" y="503401"/>
                    <a:pt x="3691700" y="300519"/>
                    <a:pt x="3631692" y="1805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  <p:sp>
          <p:nvSpPr>
            <p:cNvPr id="10" name="Freihandform: Form 321">
              <a:extLst>
                <a:ext uri="{FF2B5EF4-FFF2-40B4-BE49-F238E27FC236}">
                  <a16:creationId xmlns:a16="http://schemas.microsoft.com/office/drawing/2014/main" id="{94485FC5-4DF3-0C08-5558-F79A8EA193D7}"/>
                </a:ext>
              </a:extLst>
            </p:cNvPr>
            <p:cNvSpPr/>
            <p:nvPr/>
          </p:nvSpPr>
          <p:spPr bwMode="gray">
            <a:xfrm>
              <a:off x="7669434" y="1593342"/>
              <a:ext cx="781050" cy="1304925"/>
            </a:xfrm>
            <a:custGeom>
              <a:avLst/>
              <a:gdLst>
                <a:gd name="connsiteX0" fmla="*/ 0 w 781050"/>
                <a:gd name="connsiteY0" fmla="*/ 0 h 1304925"/>
                <a:gd name="connsiteX1" fmla="*/ 786098 w 781050"/>
                <a:gd name="connsiteY1" fmla="*/ 0 h 1304925"/>
                <a:gd name="connsiteX2" fmla="*/ 786098 w 781050"/>
                <a:gd name="connsiteY2" fmla="*/ 1310354 h 1304925"/>
                <a:gd name="connsiteX3" fmla="*/ 0 w 781050"/>
                <a:gd name="connsiteY3" fmla="*/ 1310354 h 130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050" h="1304925">
                  <a:moveTo>
                    <a:pt x="0" y="0"/>
                  </a:moveTo>
                  <a:lnTo>
                    <a:pt x="786098" y="0"/>
                  </a:lnTo>
                  <a:lnTo>
                    <a:pt x="786098" y="1310354"/>
                  </a:lnTo>
                  <a:lnTo>
                    <a:pt x="0" y="131035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  <p:sp>
          <p:nvSpPr>
            <p:cNvPr id="11" name="Freihandform: Form 322">
              <a:extLst>
                <a:ext uri="{FF2B5EF4-FFF2-40B4-BE49-F238E27FC236}">
                  <a16:creationId xmlns:a16="http://schemas.microsoft.com/office/drawing/2014/main" id="{9CACD5C8-A50D-C7E6-7673-4877BDA3B73E}"/>
                </a:ext>
              </a:extLst>
            </p:cNvPr>
            <p:cNvSpPr/>
            <p:nvPr/>
          </p:nvSpPr>
          <p:spPr bwMode="gray">
            <a:xfrm>
              <a:off x="5330600" y="2051306"/>
              <a:ext cx="2066925" cy="1066800"/>
            </a:xfrm>
            <a:custGeom>
              <a:avLst/>
              <a:gdLst>
                <a:gd name="connsiteX0" fmla="*/ 810263 w 2066925"/>
                <a:gd name="connsiteY0" fmla="*/ 755807 h 1066800"/>
                <a:gd name="connsiteX1" fmla="*/ 326107 w 2066925"/>
                <a:gd name="connsiteY1" fmla="*/ 408144 h 1066800"/>
                <a:gd name="connsiteX2" fmla="*/ 281054 w 2066925"/>
                <a:gd name="connsiteY2" fmla="*/ 273079 h 1066800"/>
                <a:gd name="connsiteX3" fmla="*/ 442788 w 2066925"/>
                <a:gd name="connsiteY3" fmla="*/ 313942 h 1066800"/>
                <a:gd name="connsiteX4" fmla="*/ 909513 w 2066925"/>
                <a:gd name="connsiteY4" fmla="*/ 623028 h 1066800"/>
                <a:gd name="connsiteX5" fmla="*/ 1052388 w 2066925"/>
                <a:gd name="connsiteY5" fmla="*/ 408525 h 1066800"/>
                <a:gd name="connsiteX6" fmla="*/ 577472 w 2066925"/>
                <a:gd name="connsiteY6" fmla="*/ 91914 h 1066800"/>
                <a:gd name="connsiteX7" fmla="*/ 69599 w 2066925"/>
                <a:gd name="connsiteY7" fmla="*/ 122013 h 1066800"/>
                <a:gd name="connsiteX8" fmla="*/ 211331 w 2066925"/>
                <a:gd name="connsiteY8" fmla="*/ 652079 h 1066800"/>
                <a:gd name="connsiteX9" fmla="*/ 662339 w 2066925"/>
                <a:gd name="connsiteY9" fmla="*/ 972881 h 1066800"/>
                <a:gd name="connsiteX10" fmla="*/ 1055055 w 2066925"/>
                <a:gd name="connsiteY10" fmla="*/ 1068703 h 1066800"/>
                <a:gd name="connsiteX11" fmla="*/ 2074802 w 2066925"/>
                <a:gd name="connsiteY11" fmla="*/ 854581 h 1066800"/>
                <a:gd name="connsiteX12" fmla="*/ 2074802 w 2066925"/>
                <a:gd name="connsiteY12" fmla="*/ 582070 h 1066800"/>
                <a:gd name="connsiteX13" fmla="*/ 1017050 w 2066925"/>
                <a:gd name="connsiteY13" fmla="*/ 810861 h 1066800"/>
                <a:gd name="connsiteX14" fmla="*/ 810263 w 2066925"/>
                <a:gd name="connsiteY14" fmla="*/ 755807 h 106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66925" h="1066800">
                  <a:moveTo>
                    <a:pt x="810263" y="755807"/>
                  </a:moveTo>
                  <a:lnTo>
                    <a:pt x="326107" y="408144"/>
                  </a:lnTo>
                  <a:cubicBezTo>
                    <a:pt x="282863" y="377378"/>
                    <a:pt x="231905" y="322228"/>
                    <a:pt x="281054" y="273079"/>
                  </a:cubicBezTo>
                  <a:cubicBezTo>
                    <a:pt x="324011" y="230122"/>
                    <a:pt x="397163" y="281176"/>
                    <a:pt x="442788" y="313942"/>
                  </a:cubicBezTo>
                  <a:lnTo>
                    <a:pt x="909513" y="623028"/>
                  </a:lnTo>
                  <a:lnTo>
                    <a:pt x="1052388" y="408525"/>
                  </a:lnTo>
                  <a:cubicBezTo>
                    <a:pt x="1052388" y="408525"/>
                    <a:pt x="699106" y="166590"/>
                    <a:pt x="577472" y="91914"/>
                  </a:cubicBezTo>
                  <a:cubicBezTo>
                    <a:pt x="292769" y="-83060"/>
                    <a:pt x="149132" y="29049"/>
                    <a:pt x="69599" y="122013"/>
                  </a:cubicBezTo>
                  <a:cubicBezTo>
                    <a:pt x="257" y="203356"/>
                    <a:pt x="-92231" y="439386"/>
                    <a:pt x="211331" y="652079"/>
                  </a:cubicBezTo>
                  <a:cubicBezTo>
                    <a:pt x="329822" y="735042"/>
                    <a:pt x="662339" y="972881"/>
                    <a:pt x="662339" y="972881"/>
                  </a:cubicBezTo>
                  <a:cubicBezTo>
                    <a:pt x="776639" y="1054606"/>
                    <a:pt x="916276" y="1088705"/>
                    <a:pt x="1055055" y="1068703"/>
                  </a:cubicBezTo>
                  <a:lnTo>
                    <a:pt x="2074802" y="854581"/>
                  </a:lnTo>
                  <a:lnTo>
                    <a:pt x="2074802" y="582070"/>
                  </a:lnTo>
                  <a:lnTo>
                    <a:pt x="1017050" y="810861"/>
                  </a:lnTo>
                  <a:cubicBezTo>
                    <a:pt x="939612" y="820576"/>
                    <a:pt x="873699" y="801241"/>
                    <a:pt x="810263" y="7558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  <p:sp>
          <p:nvSpPr>
            <p:cNvPr id="12" name="Freihandform: Form 323">
              <a:extLst>
                <a:ext uri="{FF2B5EF4-FFF2-40B4-BE49-F238E27FC236}">
                  <a16:creationId xmlns:a16="http://schemas.microsoft.com/office/drawing/2014/main" id="{94FF6931-D5C3-D96B-8CC7-54797DF6CDB5}"/>
                </a:ext>
              </a:extLst>
            </p:cNvPr>
            <p:cNvSpPr/>
            <p:nvPr/>
          </p:nvSpPr>
          <p:spPr bwMode="gray">
            <a:xfrm>
              <a:off x="3738533" y="1333500"/>
              <a:ext cx="3657600" cy="1695450"/>
            </a:xfrm>
            <a:custGeom>
              <a:avLst/>
              <a:gdLst>
                <a:gd name="connsiteX0" fmla="*/ 35462 w 3657600"/>
                <a:gd name="connsiteY0" fmla="*/ 1523143 h 1695450"/>
                <a:gd name="connsiteX1" fmla="*/ 387697 w 3657600"/>
                <a:gd name="connsiteY1" fmla="*/ 1693069 h 1695450"/>
                <a:gd name="connsiteX2" fmla="*/ 1438114 w 3657600"/>
                <a:gd name="connsiteY2" fmla="*/ 1381887 h 1695450"/>
                <a:gd name="connsiteX3" fmla="*/ 1346007 w 3657600"/>
                <a:gd name="connsiteY3" fmla="*/ 1134523 h 1695450"/>
                <a:gd name="connsiteX4" fmla="*/ 426654 w 3657600"/>
                <a:gd name="connsiteY4" fmla="*/ 1409319 h 1695450"/>
                <a:gd name="connsiteX5" fmla="*/ 262062 w 3657600"/>
                <a:gd name="connsiteY5" fmla="*/ 1406557 h 1695450"/>
                <a:gd name="connsiteX6" fmla="*/ 367123 w 3657600"/>
                <a:gd name="connsiteY6" fmla="*/ 1261110 h 1695450"/>
                <a:gd name="connsiteX7" fmla="*/ 2061525 w 3657600"/>
                <a:gd name="connsiteY7" fmla="*/ 264128 h 1695450"/>
                <a:gd name="connsiteX8" fmla="*/ 3666964 w 3657600"/>
                <a:gd name="connsiteY8" fmla="*/ 530162 h 1695450"/>
                <a:gd name="connsiteX9" fmla="*/ 3666964 w 3657600"/>
                <a:gd name="connsiteY9" fmla="*/ 259747 h 1695450"/>
                <a:gd name="connsiteX10" fmla="*/ 2028759 w 3657600"/>
                <a:gd name="connsiteY10" fmla="*/ 0 h 1695450"/>
                <a:gd name="connsiteX11" fmla="*/ 98899 w 3657600"/>
                <a:gd name="connsiteY11" fmla="*/ 1123855 h 1695450"/>
                <a:gd name="connsiteX12" fmla="*/ 35462 w 3657600"/>
                <a:gd name="connsiteY12" fmla="*/ 1523143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1695450">
                  <a:moveTo>
                    <a:pt x="35462" y="1523143"/>
                  </a:moveTo>
                  <a:cubicBezTo>
                    <a:pt x="94517" y="1641443"/>
                    <a:pt x="219676" y="1736027"/>
                    <a:pt x="387697" y="1693069"/>
                  </a:cubicBezTo>
                  <a:lnTo>
                    <a:pt x="1438114" y="1381887"/>
                  </a:lnTo>
                  <a:lnTo>
                    <a:pt x="1346007" y="1134523"/>
                  </a:lnTo>
                  <a:cubicBezTo>
                    <a:pt x="1346007" y="1134523"/>
                    <a:pt x="656873" y="1343787"/>
                    <a:pt x="426654" y="1409319"/>
                  </a:cubicBezTo>
                  <a:cubicBezTo>
                    <a:pt x="344453" y="1432465"/>
                    <a:pt x="282541" y="1461897"/>
                    <a:pt x="262062" y="1406557"/>
                  </a:cubicBezTo>
                  <a:cubicBezTo>
                    <a:pt x="235583" y="1334834"/>
                    <a:pt x="289304" y="1308830"/>
                    <a:pt x="367123" y="1261110"/>
                  </a:cubicBezTo>
                  <a:cubicBezTo>
                    <a:pt x="560766" y="1142333"/>
                    <a:pt x="1929033" y="264128"/>
                    <a:pt x="2061525" y="264128"/>
                  </a:cubicBezTo>
                  <a:cubicBezTo>
                    <a:pt x="2255359" y="264128"/>
                    <a:pt x="3666964" y="530162"/>
                    <a:pt x="3666964" y="530162"/>
                  </a:cubicBezTo>
                  <a:lnTo>
                    <a:pt x="3666964" y="259747"/>
                  </a:lnTo>
                  <a:cubicBezTo>
                    <a:pt x="3666964" y="259747"/>
                    <a:pt x="2215068" y="0"/>
                    <a:pt x="2028759" y="0"/>
                  </a:cubicBezTo>
                  <a:cubicBezTo>
                    <a:pt x="1827496" y="0"/>
                    <a:pt x="98899" y="1123855"/>
                    <a:pt x="98899" y="1123855"/>
                  </a:cubicBezTo>
                  <a:cubicBezTo>
                    <a:pt x="-11591" y="1200245"/>
                    <a:pt x="-24545" y="1403128"/>
                    <a:pt x="35462" y="15231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00" dirty="0"/>
            </a:p>
          </p:txBody>
        </p:sp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40EABE68-A127-4BA9-EEEA-F906A0123916}"/>
              </a:ext>
            </a:extLst>
          </p:cNvPr>
          <p:cNvSpPr txBox="1"/>
          <p:nvPr/>
        </p:nvSpPr>
        <p:spPr>
          <a:xfrm>
            <a:off x="6276805" y="3108373"/>
            <a:ext cx="5499395" cy="163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1800" b="1" dirty="0"/>
              <a:t>Vorteile:</a:t>
            </a:r>
          </a:p>
          <a:p>
            <a: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800" dirty="0"/>
              <a:t>Jährliche Krebs-Früherkennungsunter-</a:t>
            </a:r>
            <a:br>
              <a:rPr lang="de-DE" sz="1800" dirty="0"/>
            </a:br>
            <a:r>
              <a:rPr lang="de-DE" sz="1800" dirty="0" err="1"/>
              <a:t>suchung</a:t>
            </a:r>
            <a:r>
              <a:rPr lang="de-DE" sz="1800" dirty="0"/>
              <a:t> mit nur einer Blutentnahme</a:t>
            </a:r>
          </a:p>
          <a:p>
            <a: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800" dirty="0"/>
              <a:t>Begleitende Leistungen für die </a:t>
            </a:r>
            <a:r>
              <a:rPr lang="de-DE" sz="1800" dirty="0" err="1"/>
              <a:t>Behand</a:t>
            </a:r>
            <a:r>
              <a:rPr lang="de-DE" sz="1800" dirty="0"/>
              <a:t>-</a:t>
            </a:r>
            <a:br>
              <a:rPr lang="de-DE" sz="1800" dirty="0"/>
            </a:br>
            <a:r>
              <a:rPr lang="de-DE" sz="1800" dirty="0" err="1"/>
              <a:t>lung</a:t>
            </a:r>
            <a:r>
              <a:rPr lang="de-DE" sz="1800" dirty="0"/>
              <a:t> im Fall einer Krebsdiagnos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C22117A-CEC2-616F-7452-72FE944AE469}"/>
              </a:ext>
            </a:extLst>
          </p:cNvPr>
          <p:cNvSpPr txBox="1"/>
          <p:nvPr/>
        </p:nvSpPr>
        <p:spPr>
          <a:xfrm>
            <a:off x="452144" y="3095339"/>
            <a:ext cx="5499394" cy="190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800" b="1" dirty="0">
                <a:solidFill>
                  <a:schemeClr val="accent1"/>
                </a:solidFill>
              </a:rPr>
              <a:t>Krebs-Scan</a:t>
            </a:r>
          </a:p>
          <a:p>
            <a:pPr>
              <a:spcAft>
                <a:spcPts val="600"/>
              </a:spcAft>
            </a:pPr>
            <a:r>
              <a:rPr lang="de-DE" sz="1800" dirty="0"/>
              <a:t>Mit Krebs-Scan kann Krebs in einem frühen, oft symptomlosen Stadium diagnostiziert werden. Damit bieten Sie Ihren Beschäftigten den Zugang </a:t>
            </a:r>
            <a:br>
              <a:rPr lang="de-DE" sz="1800" dirty="0"/>
            </a:br>
            <a:r>
              <a:rPr lang="de-DE" sz="1800" dirty="0"/>
              <a:t>zu einem Produkt, das in dieser Form einzigartig ist. </a:t>
            </a:r>
            <a:br>
              <a:rPr lang="de-DE" sz="1800" dirty="0"/>
            </a:b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11677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F54E0A-6E14-E75D-CDAB-D853B147B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24</a:t>
            </a:fld>
            <a:endParaRPr lang="de-DE" dirty="0"/>
          </a:p>
        </p:txBody>
      </p:sp>
      <p:graphicFrame>
        <p:nvGraphicFramePr>
          <p:cNvPr id="6" name="Inhaltsplatzhalter 13">
            <a:extLst>
              <a:ext uri="{FF2B5EF4-FFF2-40B4-BE49-F238E27FC236}">
                <a16:creationId xmlns:a16="http://schemas.microsoft.com/office/drawing/2014/main" id="{8B1D464D-F4E5-A7F0-72A1-F4D70EB703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2586901"/>
              </p:ext>
            </p:extLst>
          </p:nvPr>
        </p:nvGraphicFramePr>
        <p:xfrm>
          <a:off x="400806" y="1763110"/>
          <a:ext cx="11376026" cy="398472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792419">
                  <a:extLst>
                    <a:ext uri="{9D8B030D-6E8A-4147-A177-3AD203B41FA5}">
                      <a16:colId xmlns:a16="http://schemas.microsoft.com/office/drawing/2014/main" val="4098091102"/>
                    </a:ext>
                  </a:extLst>
                </a:gridCol>
                <a:gridCol w="703386">
                  <a:extLst>
                    <a:ext uri="{9D8B030D-6E8A-4147-A177-3AD203B41FA5}">
                      <a16:colId xmlns:a16="http://schemas.microsoft.com/office/drawing/2014/main" val="194983818"/>
                    </a:ext>
                  </a:extLst>
                </a:gridCol>
                <a:gridCol w="5936216">
                  <a:extLst>
                    <a:ext uri="{9D8B030D-6E8A-4147-A177-3AD203B41FA5}">
                      <a16:colId xmlns:a16="http://schemas.microsoft.com/office/drawing/2014/main" val="3253044529"/>
                    </a:ext>
                  </a:extLst>
                </a:gridCol>
                <a:gridCol w="1944005">
                  <a:extLst>
                    <a:ext uri="{9D8B030D-6E8A-4147-A177-3AD203B41FA5}">
                      <a16:colId xmlns:a16="http://schemas.microsoft.com/office/drawing/2014/main" val="807314604"/>
                    </a:ext>
                  </a:extLst>
                </a:gridCol>
              </a:tblGrid>
              <a:tr h="546198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err="1">
                          <a:solidFill>
                            <a:schemeClr val="accent3"/>
                          </a:solidFill>
                        </a:rPr>
                        <a:t>Tarifmodul</a:t>
                      </a:r>
                      <a:r>
                        <a:rPr lang="en-US" sz="1400" b="1" dirty="0">
                          <a:solidFill>
                            <a:schemeClr val="accent3"/>
                          </a:solidFill>
                        </a:rPr>
                        <a:t> </a:t>
                      </a:r>
                    </a:p>
                  </a:txBody>
                  <a:tcPr marL="55407" marR="55407" marT="27000" marB="27000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b="1" dirty="0">
                          <a:solidFill>
                            <a:schemeClr val="accent3"/>
                          </a:solidFill>
                        </a:rPr>
                        <a:t>Tarif</a:t>
                      </a:r>
                    </a:p>
                  </a:txBody>
                  <a:tcPr marL="55407" marR="55407" marT="27000" marB="2700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b="1" dirty="0">
                          <a:solidFill>
                            <a:schemeClr val="accent3"/>
                          </a:solidFill>
                        </a:rPr>
                        <a:t>Leistung </a:t>
                      </a:r>
                    </a:p>
                  </a:txBody>
                  <a:tcPr marL="55407" marR="55407" marT="27000" marB="2700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b="1" dirty="0">
                          <a:solidFill>
                            <a:schemeClr val="accent3"/>
                          </a:solidFill>
                        </a:rPr>
                        <a:t>Monatsbeitrag pro Mitarbeiter</a:t>
                      </a:r>
                    </a:p>
                  </a:txBody>
                  <a:tcPr marL="55407" marR="55407" marT="27000" marB="2700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930518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latin typeface="+mn-lt"/>
                        </a:rPr>
                        <a:t>Ambulante Vorsorge </a:t>
                      </a:r>
                      <a:endParaRPr lang="de-DE" sz="1000" baseline="30000" dirty="0">
                        <a:latin typeface="+mn-lt"/>
                      </a:endParaRP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V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fangreiche Vorsorgeuntersuchungen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8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3232970"/>
                  </a:ext>
                </a:extLst>
              </a:tr>
              <a:tr h="268085">
                <a:tc>
                  <a:txBody>
                    <a:bodyPr/>
                    <a:lstStyle/>
                    <a:p>
                      <a:pPr lvl="0" algn="l"/>
                      <a:r>
                        <a:rPr lang="de-DE" sz="1000" dirty="0">
                          <a:latin typeface="+mn-lt"/>
                        </a:rPr>
                        <a:t>Ambulante Vorsorge Premium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VP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fangreiche Vorsorgeuntersuchungen inkl. Präventionskurse und Maßnahmen zur Stressbewältigung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,9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264626"/>
                  </a:ext>
                </a:extLst>
              </a:tr>
              <a:tr h="263645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latin typeface="+mn-lt"/>
                        </a:rPr>
                        <a:t>Zahnbehandlung 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ZB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istungen für Komposit- und Kunststofffüllungen, Parodontose und Wurzelbehandlungen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,9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314237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Zahnprophylaxe </a:t>
                      </a:r>
                      <a:endParaRPr lang="de-DE" sz="1000" dirty="0">
                        <a:latin typeface="+mn-lt"/>
                      </a:endParaRP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ZP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s zu 2 x 60 EUR pro Jahr u.a. für die professionelle Zahnreinigung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,5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263067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latin typeface="+mn-lt"/>
                        </a:rPr>
                        <a:t>Zahnersatz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Z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% - 90% auf Privatzahnarztniveau 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10 %  2,5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latin typeface="+mn-lt"/>
                        </a:rPr>
                        <a:t>Zahnersatz Top 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ZT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% - 50% auf Privatzahnarztniveau ohne Begrenzung auf die Höchstsätze GOÄ / GOZ und ohne Zahnstaffel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10 %  3,0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Sehhilfen </a:t>
                      </a:r>
                      <a:endParaRPr lang="de-DE" sz="1000" dirty="0">
                        <a:latin typeface="+mn-lt"/>
                      </a:endParaRP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S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s zu 200 EUR alle 24 Monate für Brillen und Kontaktlinsen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,0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077705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dirty="0">
                          <a:latin typeface="+mn-lt"/>
                        </a:rPr>
                        <a:t>Naturheilkunde </a:t>
                      </a:r>
                      <a:endParaRPr lang="de-DE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KH</a:t>
                      </a:r>
                      <a:r>
                        <a:rPr lang="de-DE" sz="10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s zu 400 EUR jährlich für Heilpraktiker und Naturheilärzte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0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2333635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ankenhaus 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WL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inbettzimmer</a:t>
                      </a:r>
                      <a:r>
                        <a:rPr lang="de-DE" sz="10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m Krankenhaus mit Chefarztbehandlung nach medizinischer Notwendigkeit</a:t>
                      </a:r>
                      <a:endParaRPr lang="de-DE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ch Durchschnittsalter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ankenhaus Unfall 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KU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inbettzimmer</a:t>
                      </a:r>
                      <a:r>
                        <a:rPr lang="de-DE" sz="10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m Krankenhaus mit Chefarztbehandlung nach Unfällen</a:t>
                      </a:r>
                      <a:endParaRPr lang="de-DE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,99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ankengeld 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KT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ankentagegeld ab der 7. Krankheitswoche, 150 EUR – 600 EUR monatlich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,00 € – 24,00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3650">
                <a:tc>
                  <a:txBody>
                    <a:bodyPr/>
                    <a:lstStyle/>
                    <a:p>
                      <a:pPr marL="0" indent="0" algn="l" defTabSz="685579" rtl="0" eaLnBrk="1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ebs-Scan</a:t>
                      </a:r>
                    </a:p>
                  </a:txBody>
                  <a:tcPr marL="55407" marR="55407" marT="27000" marB="27000" anchor="ctr"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ZY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üherkennung von möglichen bösartigen Neubildungen mithilfe des </a:t>
                      </a:r>
                      <a:r>
                        <a:rPr kumimoji="0" lang="de-DE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nTum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tect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latin typeface="Comfortaa"/>
                        </a:rPr>
                        <a:t>®</a:t>
                      </a: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luttest, sowie Begleitleistungen nach erfolgter Diagnose 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,83 €</a:t>
                      </a:r>
                    </a:p>
                  </a:txBody>
                  <a:tcPr marL="55407" marR="55407" marT="27000" marB="2700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827503"/>
                  </a:ext>
                </a:extLst>
              </a:tr>
            </a:tbl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9A38CA8-1D75-5C3A-5AE8-51FE9B8147DD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accent1"/>
                </a:solidFill>
              </a:rPr>
              <a:t>Ergänzungstarife </a:t>
            </a:r>
            <a:r>
              <a:rPr lang="de-DE" sz="5400" dirty="0">
                <a:solidFill>
                  <a:schemeClr val="accent1"/>
                </a:solidFill>
              </a:rPr>
              <a:t>zum Budget </a:t>
            </a:r>
          </a:p>
        </p:txBody>
      </p:sp>
    </p:spTree>
    <p:extLst>
      <p:ext uri="{BB962C8B-B14F-4D97-AF65-F5344CB8AC3E}">
        <p14:creationId xmlns:p14="http://schemas.microsoft.com/office/powerpoint/2010/main" val="37579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8D90B6-4E8E-A0A2-8BB3-CB813AAB8A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8D90B6-4E8E-A0A2-8BB3-CB813AAB8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B29ACE20-7358-4EA4-8C82-1B22C2FA91AA}"/>
              </a:ext>
            </a:extLst>
          </p:cNvPr>
          <p:cNvSpPr/>
          <p:nvPr/>
        </p:nvSpPr>
        <p:spPr bwMode="gray">
          <a:xfrm>
            <a:off x="0" y="0"/>
            <a:ext cx="12192000" cy="6021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D1A1EF1F-9F3E-3A99-C0F7-82D0DBB9C609}"/>
              </a:ext>
            </a:extLst>
          </p:cNvPr>
          <p:cNvSpPr txBox="1">
            <a:spLocks/>
          </p:cNvSpPr>
          <p:nvPr/>
        </p:nvSpPr>
        <p:spPr bwMode="gray">
          <a:xfrm>
            <a:off x="847080" y="2961370"/>
            <a:ext cx="2494417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Aufnahmegarantie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ohne Gesundheitsprüfung; sofortiger Versicherungsschutz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7F918CB5-689B-2A52-7B85-CAFCFECFE8BC}"/>
              </a:ext>
            </a:extLst>
          </p:cNvPr>
          <p:cNvSpPr txBox="1">
            <a:spLocks/>
          </p:cNvSpPr>
          <p:nvPr/>
        </p:nvSpPr>
        <p:spPr bwMode="gray">
          <a:xfrm>
            <a:off x="3898876" y="2961370"/>
            <a:ext cx="2087612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Ein einheitlicher Beitrag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für alle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Mitarbeitenden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6B1C991C-47DE-63DC-C786-2325B26EEFF4}"/>
              </a:ext>
            </a:extLst>
          </p:cNvPr>
          <p:cNvSpPr txBox="1">
            <a:spLocks/>
          </p:cNvSpPr>
          <p:nvPr/>
        </p:nvSpPr>
        <p:spPr bwMode="gray">
          <a:xfrm>
            <a:off x="6457058" y="2961370"/>
            <a:ext cx="2087612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Mitversicherung von Familienangehörigen zum gleichen Beitrag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6C851D4B-189D-6E0C-8E57-5FC379322A29}"/>
              </a:ext>
            </a:extLst>
          </p:cNvPr>
          <p:cNvSpPr txBox="1">
            <a:spLocks/>
          </p:cNvSpPr>
          <p:nvPr/>
        </p:nvSpPr>
        <p:spPr bwMode="gray">
          <a:xfrm>
            <a:off x="953950" y="4869160"/>
            <a:ext cx="4428000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Bei Arbeitsunterbrechungen wie beispielsweise Elternzeit oder längerer Krankheit wird kein Beitrag erhoben. Die Leistungen bleiben bestehen.*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542F0CA2-B610-35ED-50DD-3B56F65777DB}"/>
              </a:ext>
            </a:extLst>
          </p:cNvPr>
          <p:cNvSpPr txBox="1">
            <a:spLocks/>
          </p:cNvSpPr>
          <p:nvPr/>
        </p:nvSpPr>
        <p:spPr bwMode="gray">
          <a:xfrm>
            <a:off x="6617891" y="4869160"/>
            <a:ext cx="4721831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Bei Ausscheiden kann der Mitarbeitende den versicherten Tarif mit identischen Leistungen auf eigene Rechnung weiterführen.</a:t>
            </a:r>
          </a:p>
        </p:txBody>
      </p:sp>
      <p:sp>
        <p:nvSpPr>
          <p:cNvPr id="28" name="Grafik 154">
            <a:extLst>
              <a:ext uri="{FF2B5EF4-FFF2-40B4-BE49-F238E27FC236}">
                <a16:creationId xmlns:a16="http://schemas.microsoft.com/office/drawing/2014/main" id="{049CCF47-5FCA-14A5-1F4A-F0B32356B518}"/>
              </a:ext>
            </a:extLst>
          </p:cNvPr>
          <p:cNvSpPr>
            <a:spLocks noChangeAspect="1"/>
          </p:cNvSpPr>
          <p:nvPr/>
        </p:nvSpPr>
        <p:spPr bwMode="gray">
          <a:xfrm>
            <a:off x="1847372" y="2359707"/>
            <a:ext cx="540000" cy="458279"/>
          </a:xfrm>
          <a:custGeom>
            <a:avLst/>
            <a:gdLst>
              <a:gd name="connsiteX0" fmla="*/ 1065371 w 3209925"/>
              <a:gd name="connsiteY0" fmla="*/ 1799177 h 2724150"/>
              <a:gd name="connsiteX1" fmla="*/ 0 w 3209925"/>
              <a:gd name="connsiteY1" fmla="*/ 904780 h 2724150"/>
              <a:gd name="connsiteX2" fmla="*/ 0 w 3209925"/>
              <a:gd name="connsiteY2" fmla="*/ 1955387 h 2724150"/>
              <a:gd name="connsiteX3" fmla="*/ 807625 w 3209925"/>
              <a:gd name="connsiteY3" fmla="*/ 2633472 h 2724150"/>
              <a:gd name="connsiteX4" fmla="*/ 1325975 w 3209925"/>
              <a:gd name="connsiteY4" fmla="*/ 2632710 h 2724150"/>
              <a:gd name="connsiteX5" fmla="*/ 3213545 w 3209925"/>
              <a:gd name="connsiteY5" fmla="*/ 1053751 h 2724150"/>
              <a:gd name="connsiteX6" fmla="*/ 3213545 w 3209925"/>
              <a:gd name="connsiteY6" fmla="*/ 0 h 2724150"/>
              <a:gd name="connsiteX7" fmla="*/ 1065371 w 3209925"/>
              <a:gd name="connsiteY7" fmla="*/ 1799177 h 272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9925" h="2724150">
                <a:moveTo>
                  <a:pt x="1065371" y="1799177"/>
                </a:moveTo>
                <a:lnTo>
                  <a:pt x="0" y="904780"/>
                </a:lnTo>
                <a:lnTo>
                  <a:pt x="0" y="1955387"/>
                </a:lnTo>
                <a:lnTo>
                  <a:pt x="807625" y="2633472"/>
                </a:lnTo>
                <a:cubicBezTo>
                  <a:pt x="957453" y="2759393"/>
                  <a:pt x="1176433" y="2759297"/>
                  <a:pt x="1325975" y="2632710"/>
                </a:cubicBezTo>
                <a:lnTo>
                  <a:pt x="3213545" y="1053751"/>
                </a:lnTo>
                <a:lnTo>
                  <a:pt x="3213545" y="0"/>
                </a:lnTo>
                <a:lnTo>
                  <a:pt x="1065371" y="179917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42" name="Grafik 166">
            <a:extLst>
              <a:ext uri="{FF2B5EF4-FFF2-40B4-BE49-F238E27FC236}">
                <a16:creationId xmlns:a16="http://schemas.microsoft.com/office/drawing/2014/main" id="{78A13FD8-7EA3-5D4D-2FFE-549C30FB8A0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71704" y="2277466"/>
            <a:ext cx="541957" cy="540000"/>
            <a:chOff x="3457575" y="800100"/>
            <a:chExt cx="5276850" cy="5257800"/>
          </a:xfrm>
          <a:solidFill>
            <a:schemeClr val="bg1"/>
          </a:solidFill>
        </p:grpSpPr>
        <p:sp>
          <p:nvSpPr>
            <p:cNvPr id="43" name="Freihandform: Form 216">
              <a:extLst>
                <a:ext uri="{FF2B5EF4-FFF2-40B4-BE49-F238E27FC236}">
                  <a16:creationId xmlns:a16="http://schemas.microsoft.com/office/drawing/2014/main" id="{F6C9A9A3-888D-FAC1-FEF9-DF99BC57DFBC}"/>
                </a:ext>
              </a:extLst>
            </p:cNvPr>
            <p:cNvSpPr/>
            <p:nvPr/>
          </p:nvSpPr>
          <p:spPr bwMode="gray">
            <a:xfrm>
              <a:off x="3457575" y="800100"/>
              <a:ext cx="2667000" cy="2667000"/>
            </a:xfrm>
            <a:custGeom>
              <a:avLst/>
              <a:gdLst>
                <a:gd name="connsiteX0" fmla="*/ 1333024 w 2667000"/>
                <a:gd name="connsiteY0" fmla="*/ 0 h 2667000"/>
                <a:gd name="connsiteX1" fmla="*/ 0 w 2667000"/>
                <a:gd name="connsiteY1" fmla="*/ 1339406 h 2667000"/>
                <a:gd name="connsiteX2" fmla="*/ 1339406 w 2667000"/>
                <a:gd name="connsiteY2" fmla="*/ 2672429 h 2667000"/>
                <a:gd name="connsiteX3" fmla="*/ 2672429 w 2667000"/>
                <a:gd name="connsiteY3" fmla="*/ 1339406 h 2667000"/>
                <a:gd name="connsiteX4" fmla="*/ 1333024 w 2667000"/>
                <a:gd name="connsiteY4" fmla="*/ 0 h 2667000"/>
                <a:gd name="connsiteX5" fmla="*/ 1825371 w 2667000"/>
                <a:gd name="connsiteY5" fmla="*/ 873252 h 2667000"/>
                <a:gd name="connsiteX6" fmla="*/ 1503617 w 2667000"/>
                <a:gd name="connsiteY6" fmla="*/ 768191 h 2667000"/>
                <a:gd name="connsiteX7" fmla="*/ 1089851 w 2667000"/>
                <a:gd name="connsiteY7" fmla="*/ 1050417 h 2667000"/>
                <a:gd name="connsiteX8" fmla="*/ 1562481 w 2667000"/>
                <a:gd name="connsiteY8" fmla="*/ 1050417 h 2667000"/>
                <a:gd name="connsiteX9" fmla="*/ 1523238 w 2667000"/>
                <a:gd name="connsiteY9" fmla="*/ 1267111 h 2667000"/>
                <a:gd name="connsiteX10" fmla="*/ 1043845 w 2667000"/>
                <a:gd name="connsiteY10" fmla="*/ 1267111 h 2667000"/>
                <a:gd name="connsiteX11" fmla="*/ 1037463 w 2667000"/>
                <a:gd name="connsiteY11" fmla="*/ 1339215 h 2667000"/>
                <a:gd name="connsiteX12" fmla="*/ 1043845 w 2667000"/>
                <a:gd name="connsiteY12" fmla="*/ 1424750 h 2667000"/>
                <a:gd name="connsiteX13" fmla="*/ 1496949 w 2667000"/>
                <a:gd name="connsiteY13" fmla="*/ 1424750 h 2667000"/>
                <a:gd name="connsiteX14" fmla="*/ 1457706 w 2667000"/>
                <a:gd name="connsiteY14" fmla="*/ 1634871 h 2667000"/>
                <a:gd name="connsiteX15" fmla="*/ 1096518 w 2667000"/>
                <a:gd name="connsiteY15" fmla="*/ 1634871 h 2667000"/>
                <a:gd name="connsiteX16" fmla="*/ 1503521 w 2667000"/>
                <a:gd name="connsiteY16" fmla="*/ 1917097 h 2667000"/>
                <a:gd name="connsiteX17" fmla="*/ 1825276 w 2667000"/>
                <a:gd name="connsiteY17" fmla="*/ 1805464 h 2667000"/>
                <a:gd name="connsiteX18" fmla="*/ 1825276 w 2667000"/>
                <a:gd name="connsiteY18" fmla="*/ 2146935 h 2667000"/>
                <a:gd name="connsiteX19" fmla="*/ 1483900 w 2667000"/>
                <a:gd name="connsiteY19" fmla="*/ 2225612 h 2667000"/>
                <a:gd name="connsiteX20" fmla="*/ 735235 w 2667000"/>
                <a:gd name="connsiteY20" fmla="*/ 1634681 h 2667000"/>
                <a:gd name="connsiteX21" fmla="*/ 564642 w 2667000"/>
                <a:gd name="connsiteY21" fmla="*/ 1634681 h 2667000"/>
                <a:gd name="connsiteX22" fmla="*/ 564642 w 2667000"/>
                <a:gd name="connsiteY22" fmla="*/ 1424559 h 2667000"/>
                <a:gd name="connsiteX23" fmla="*/ 702564 w 2667000"/>
                <a:gd name="connsiteY23" fmla="*/ 1424559 h 2667000"/>
                <a:gd name="connsiteX24" fmla="*/ 695992 w 2667000"/>
                <a:gd name="connsiteY24" fmla="*/ 1339025 h 2667000"/>
                <a:gd name="connsiteX25" fmla="*/ 702564 w 2667000"/>
                <a:gd name="connsiteY25" fmla="*/ 1266920 h 2667000"/>
                <a:gd name="connsiteX26" fmla="*/ 564642 w 2667000"/>
                <a:gd name="connsiteY26" fmla="*/ 1266920 h 2667000"/>
                <a:gd name="connsiteX27" fmla="*/ 564642 w 2667000"/>
                <a:gd name="connsiteY27" fmla="*/ 1050227 h 2667000"/>
                <a:gd name="connsiteX28" fmla="*/ 735330 w 2667000"/>
                <a:gd name="connsiteY28" fmla="*/ 1050227 h 2667000"/>
                <a:gd name="connsiteX29" fmla="*/ 1490377 w 2667000"/>
                <a:gd name="connsiteY29" fmla="*/ 452819 h 2667000"/>
                <a:gd name="connsiteX30" fmla="*/ 1825276 w 2667000"/>
                <a:gd name="connsiteY30" fmla="*/ 538163 h 2667000"/>
                <a:gd name="connsiteX31" fmla="*/ 1825371 w 2667000"/>
                <a:gd name="connsiteY31" fmla="*/ 873252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67000" h="2667000">
                  <a:moveTo>
                    <a:pt x="1333024" y="0"/>
                  </a:moveTo>
                  <a:cubicBezTo>
                    <a:pt x="590741" y="0"/>
                    <a:pt x="0" y="617315"/>
                    <a:pt x="0" y="1339406"/>
                  </a:cubicBezTo>
                  <a:cubicBezTo>
                    <a:pt x="0" y="2048637"/>
                    <a:pt x="577787" y="2672429"/>
                    <a:pt x="1339406" y="2672429"/>
                  </a:cubicBezTo>
                  <a:cubicBezTo>
                    <a:pt x="2081498" y="2672429"/>
                    <a:pt x="2672429" y="2081403"/>
                    <a:pt x="2672429" y="1339406"/>
                  </a:cubicBezTo>
                  <a:cubicBezTo>
                    <a:pt x="2672334" y="617125"/>
                    <a:pt x="2101025" y="0"/>
                    <a:pt x="1333024" y="0"/>
                  </a:cubicBezTo>
                  <a:close/>
                  <a:moveTo>
                    <a:pt x="1825371" y="873252"/>
                  </a:moveTo>
                  <a:cubicBezTo>
                    <a:pt x="1726692" y="801053"/>
                    <a:pt x="1615250" y="768191"/>
                    <a:pt x="1503617" y="768191"/>
                  </a:cubicBezTo>
                  <a:cubicBezTo>
                    <a:pt x="1319879" y="768191"/>
                    <a:pt x="1168718" y="873252"/>
                    <a:pt x="1089851" y="1050417"/>
                  </a:cubicBezTo>
                  <a:lnTo>
                    <a:pt x="1562481" y="1050417"/>
                  </a:lnTo>
                  <a:lnTo>
                    <a:pt x="1523238" y="1267111"/>
                  </a:lnTo>
                  <a:lnTo>
                    <a:pt x="1043845" y="1267111"/>
                  </a:lnTo>
                  <a:lnTo>
                    <a:pt x="1037463" y="1339215"/>
                  </a:lnTo>
                  <a:lnTo>
                    <a:pt x="1043845" y="1424750"/>
                  </a:lnTo>
                  <a:lnTo>
                    <a:pt x="1496949" y="1424750"/>
                  </a:lnTo>
                  <a:lnTo>
                    <a:pt x="1457706" y="1634871"/>
                  </a:lnTo>
                  <a:lnTo>
                    <a:pt x="1096518" y="1634871"/>
                  </a:lnTo>
                  <a:cubicBezTo>
                    <a:pt x="1175290" y="1812036"/>
                    <a:pt x="1319784" y="1917097"/>
                    <a:pt x="1503521" y="1917097"/>
                  </a:cubicBezTo>
                  <a:cubicBezTo>
                    <a:pt x="1615154" y="1917097"/>
                    <a:pt x="1726597" y="1877663"/>
                    <a:pt x="1825276" y="1805464"/>
                  </a:cubicBezTo>
                  <a:lnTo>
                    <a:pt x="1825276" y="2146935"/>
                  </a:lnTo>
                  <a:cubicBezTo>
                    <a:pt x="1726597" y="2199513"/>
                    <a:pt x="1615154" y="2225612"/>
                    <a:pt x="1483900" y="2225612"/>
                  </a:cubicBezTo>
                  <a:cubicBezTo>
                    <a:pt x="1122712" y="2225612"/>
                    <a:pt x="833723" y="2002346"/>
                    <a:pt x="735235" y="1634681"/>
                  </a:cubicBezTo>
                  <a:lnTo>
                    <a:pt x="564642" y="1634681"/>
                  </a:lnTo>
                  <a:lnTo>
                    <a:pt x="564642" y="1424559"/>
                  </a:lnTo>
                  <a:lnTo>
                    <a:pt x="702564" y="1424559"/>
                  </a:lnTo>
                  <a:cubicBezTo>
                    <a:pt x="695992" y="1404842"/>
                    <a:pt x="695992" y="1378553"/>
                    <a:pt x="695992" y="1339025"/>
                  </a:cubicBezTo>
                  <a:lnTo>
                    <a:pt x="702564" y="1266920"/>
                  </a:lnTo>
                  <a:lnTo>
                    <a:pt x="564642" y="1266920"/>
                  </a:lnTo>
                  <a:lnTo>
                    <a:pt x="564642" y="1050227"/>
                  </a:lnTo>
                  <a:lnTo>
                    <a:pt x="735330" y="1050227"/>
                  </a:lnTo>
                  <a:cubicBezTo>
                    <a:pt x="833819" y="682657"/>
                    <a:pt x="1122617" y="452819"/>
                    <a:pt x="1490377" y="452819"/>
                  </a:cubicBezTo>
                  <a:cubicBezTo>
                    <a:pt x="1615154" y="452819"/>
                    <a:pt x="1726597" y="479108"/>
                    <a:pt x="1825276" y="538163"/>
                  </a:cubicBezTo>
                  <a:cubicBezTo>
                    <a:pt x="1825371" y="538163"/>
                    <a:pt x="1825371" y="873252"/>
                    <a:pt x="1825371" y="8732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217">
              <a:extLst>
                <a:ext uri="{FF2B5EF4-FFF2-40B4-BE49-F238E27FC236}">
                  <a16:creationId xmlns:a16="http://schemas.microsoft.com/office/drawing/2014/main" id="{C8615FCC-B59D-2E95-9F9B-7DC58C18D45D}"/>
                </a:ext>
              </a:extLst>
            </p:cNvPr>
            <p:cNvSpPr/>
            <p:nvPr/>
          </p:nvSpPr>
          <p:spPr bwMode="gray">
            <a:xfrm>
              <a:off x="6393466" y="1639348"/>
              <a:ext cx="2333625" cy="4410075"/>
            </a:xfrm>
            <a:custGeom>
              <a:avLst/>
              <a:gdLst>
                <a:gd name="connsiteX0" fmla="*/ 2338769 w 2333625"/>
                <a:gd name="connsiteY0" fmla="*/ 1665351 h 4410075"/>
                <a:gd name="connsiteX1" fmla="*/ 2209228 w 2333625"/>
                <a:gd name="connsiteY1" fmla="*/ 1536002 h 4410075"/>
                <a:gd name="connsiteX2" fmla="*/ 1849850 w 2333625"/>
                <a:gd name="connsiteY2" fmla="*/ 1525048 h 4410075"/>
                <a:gd name="connsiteX3" fmla="*/ 1541335 w 2333625"/>
                <a:gd name="connsiteY3" fmla="*/ 1148429 h 4410075"/>
                <a:gd name="connsiteX4" fmla="*/ 1146524 w 2333625"/>
                <a:gd name="connsiteY4" fmla="*/ 849630 h 4410075"/>
                <a:gd name="connsiteX5" fmla="*/ 1135666 w 2333625"/>
                <a:gd name="connsiteY5" fmla="*/ 127921 h 4410075"/>
                <a:gd name="connsiteX6" fmla="*/ 1055370 w 2333625"/>
                <a:gd name="connsiteY6" fmla="*/ 10668 h 4410075"/>
                <a:gd name="connsiteX7" fmla="*/ 1002030 w 2333625"/>
                <a:gd name="connsiteY7" fmla="*/ 0 h 4410075"/>
                <a:gd name="connsiteX8" fmla="*/ 912209 w 2333625"/>
                <a:gd name="connsiteY8" fmla="*/ 33623 h 4410075"/>
                <a:gd name="connsiteX9" fmla="*/ 241554 w 2333625"/>
                <a:gd name="connsiteY9" fmla="*/ 625507 h 4410075"/>
                <a:gd name="connsiteX10" fmla="*/ 58483 w 2333625"/>
                <a:gd name="connsiteY10" fmla="*/ 627507 h 4410075"/>
                <a:gd name="connsiteX11" fmla="*/ 0 w 2333625"/>
                <a:gd name="connsiteY11" fmla="*/ 955358 h 4410075"/>
                <a:gd name="connsiteX12" fmla="*/ 244983 w 2333625"/>
                <a:gd name="connsiteY12" fmla="*/ 953834 h 4410075"/>
                <a:gd name="connsiteX13" fmla="*/ 458914 w 2333625"/>
                <a:gd name="connsiteY13" fmla="*/ 871538 h 4410075"/>
                <a:gd name="connsiteX14" fmla="*/ 813911 w 2333625"/>
                <a:gd name="connsiteY14" fmla="*/ 558451 h 4410075"/>
                <a:gd name="connsiteX15" fmla="*/ 818388 w 2333625"/>
                <a:gd name="connsiteY15" fmla="*/ 854678 h 4410075"/>
                <a:gd name="connsiteX16" fmla="*/ 985361 w 2333625"/>
                <a:gd name="connsiteY16" fmla="*/ 1135571 h 4410075"/>
                <a:gd name="connsiteX17" fmla="*/ 1312735 w 2333625"/>
                <a:gd name="connsiteY17" fmla="*/ 1383983 h 4410075"/>
                <a:gd name="connsiteX18" fmla="*/ 1566863 w 2333625"/>
                <a:gd name="connsiteY18" fmla="*/ 1691450 h 4410075"/>
                <a:gd name="connsiteX19" fmla="*/ 1840039 w 2333625"/>
                <a:gd name="connsiteY19" fmla="*/ 1853375 h 4410075"/>
                <a:gd name="connsiteX20" fmla="*/ 2011489 w 2333625"/>
                <a:gd name="connsiteY20" fmla="*/ 1858613 h 4410075"/>
                <a:gd name="connsiteX21" fmla="*/ 2013966 w 2333625"/>
                <a:gd name="connsiteY21" fmla="*/ 2549462 h 4410075"/>
                <a:gd name="connsiteX22" fmla="*/ 1850231 w 2333625"/>
                <a:gd name="connsiteY22" fmla="*/ 2549462 h 4410075"/>
                <a:gd name="connsiteX23" fmla="*/ 1550765 w 2333625"/>
                <a:gd name="connsiteY23" fmla="*/ 2743200 h 4410075"/>
                <a:gd name="connsiteX24" fmla="*/ 1131951 w 2333625"/>
                <a:gd name="connsiteY24" fmla="*/ 3298984 h 4410075"/>
                <a:gd name="connsiteX25" fmla="*/ 368808 w 2333625"/>
                <a:gd name="connsiteY25" fmla="*/ 3570065 h 4410075"/>
                <a:gd name="connsiteX26" fmla="*/ 74581 w 2333625"/>
                <a:gd name="connsiteY26" fmla="*/ 3896582 h 4410075"/>
                <a:gd name="connsiteX27" fmla="*/ 74581 w 2333625"/>
                <a:gd name="connsiteY27" fmla="*/ 4418839 h 4410075"/>
                <a:gd name="connsiteX28" fmla="*/ 402907 w 2333625"/>
                <a:gd name="connsiteY28" fmla="*/ 4418839 h 4410075"/>
                <a:gd name="connsiteX29" fmla="*/ 402907 w 2333625"/>
                <a:gd name="connsiteY29" fmla="*/ 3896392 h 4410075"/>
                <a:gd name="connsiteX30" fmla="*/ 1343311 w 2333625"/>
                <a:gd name="connsiteY30" fmla="*/ 3549968 h 4410075"/>
                <a:gd name="connsiteX31" fmla="*/ 1850136 w 2333625"/>
                <a:gd name="connsiteY31" fmla="*/ 2877693 h 4410075"/>
                <a:gd name="connsiteX32" fmla="*/ 2209228 w 2333625"/>
                <a:gd name="connsiteY32" fmla="*/ 2877693 h 4410075"/>
                <a:gd name="connsiteX33" fmla="*/ 2303812 w 2333625"/>
                <a:gd name="connsiteY33" fmla="*/ 2839784 h 4410075"/>
                <a:gd name="connsiteX34" fmla="*/ 2342864 w 2333625"/>
                <a:gd name="connsiteY34" fmla="*/ 2747486 h 4410075"/>
                <a:gd name="connsiteX35" fmla="*/ 2338769 w 2333625"/>
                <a:gd name="connsiteY35" fmla="*/ 1665351 h 4410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33625" h="4410075">
                  <a:moveTo>
                    <a:pt x="2338769" y="1665351"/>
                  </a:moveTo>
                  <a:cubicBezTo>
                    <a:pt x="2338292" y="1595533"/>
                    <a:pt x="2281333" y="1538478"/>
                    <a:pt x="2209228" y="1536002"/>
                  </a:cubicBezTo>
                  <a:lnTo>
                    <a:pt x="1849850" y="1525048"/>
                  </a:lnTo>
                  <a:cubicBezTo>
                    <a:pt x="1803178" y="1445705"/>
                    <a:pt x="1711452" y="1313783"/>
                    <a:pt x="1541335" y="1148429"/>
                  </a:cubicBezTo>
                  <a:cubicBezTo>
                    <a:pt x="1382077" y="993934"/>
                    <a:pt x="1232821" y="898398"/>
                    <a:pt x="1146524" y="849630"/>
                  </a:cubicBezTo>
                  <a:lnTo>
                    <a:pt x="1135666" y="127921"/>
                  </a:lnTo>
                  <a:cubicBezTo>
                    <a:pt x="1134713" y="76676"/>
                    <a:pt x="1103281" y="31052"/>
                    <a:pt x="1055370" y="10668"/>
                  </a:cubicBezTo>
                  <a:cubicBezTo>
                    <a:pt x="1038320" y="3429"/>
                    <a:pt x="1020032" y="0"/>
                    <a:pt x="1002030" y="0"/>
                  </a:cubicBezTo>
                  <a:cubicBezTo>
                    <a:pt x="969550" y="0"/>
                    <a:pt x="937355" y="11525"/>
                    <a:pt x="912209" y="33623"/>
                  </a:cubicBezTo>
                  <a:lnTo>
                    <a:pt x="241554" y="625507"/>
                  </a:lnTo>
                  <a:lnTo>
                    <a:pt x="58483" y="627507"/>
                  </a:lnTo>
                  <a:cubicBezTo>
                    <a:pt x="49816" y="740474"/>
                    <a:pt x="30099" y="849821"/>
                    <a:pt x="0" y="955358"/>
                  </a:cubicBezTo>
                  <a:lnTo>
                    <a:pt x="244983" y="953834"/>
                  </a:lnTo>
                  <a:cubicBezTo>
                    <a:pt x="323755" y="952976"/>
                    <a:pt x="399764" y="923830"/>
                    <a:pt x="458914" y="871538"/>
                  </a:cubicBezTo>
                  <a:lnTo>
                    <a:pt x="813911" y="558451"/>
                  </a:lnTo>
                  <a:lnTo>
                    <a:pt x="818388" y="854678"/>
                  </a:lnTo>
                  <a:cubicBezTo>
                    <a:pt x="820198" y="971264"/>
                    <a:pt x="883730" y="1078325"/>
                    <a:pt x="985361" y="1135571"/>
                  </a:cubicBezTo>
                  <a:cubicBezTo>
                    <a:pt x="1049274" y="1171670"/>
                    <a:pt x="1176433" y="1251776"/>
                    <a:pt x="1312735" y="1383983"/>
                  </a:cubicBezTo>
                  <a:cubicBezTo>
                    <a:pt x="1462183" y="1529429"/>
                    <a:pt x="1536192" y="1639157"/>
                    <a:pt x="1566863" y="1691450"/>
                  </a:cubicBezTo>
                  <a:cubicBezTo>
                    <a:pt x="1624013" y="1788795"/>
                    <a:pt x="1727264" y="1849850"/>
                    <a:pt x="1840039" y="1853375"/>
                  </a:cubicBezTo>
                  <a:lnTo>
                    <a:pt x="2011489" y="1858613"/>
                  </a:lnTo>
                  <a:lnTo>
                    <a:pt x="2013966" y="2549462"/>
                  </a:lnTo>
                  <a:lnTo>
                    <a:pt x="1850231" y="2549462"/>
                  </a:lnTo>
                  <a:cubicBezTo>
                    <a:pt x="1720977" y="2549462"/>
                    <a:pt x="1603819" y="2625281"/>
                    <a:pt x="1550765" y="2743200"/>
                  </a:cubicBezTo>
                  <a:cubicBezTo>
                    <a:pt x="1506474" y="2841498"/>
                    <a:pt x="1377029" y="3092577"/>
                    <a:pt x="1131951" y="3298984"/>
                  </a:cubicBezTo>
                  <a:cubicBezTo>
                    <a:pt x="897636" y="3495961"/>
                    <a:pt x="520255" y="3554254"/>
                    <a:pt x="368808" y="3570065"/>
                  </a:cubicBezTo>
                  <a:cubicBezTo>
                    <a:pt x="201644" y="3587496"/>
                    <a:pt x="74581" y="3728657"/>
                    <a:pt x="74581" y="3896582"/>
                  </a:cubicBezTo>
                  <a:lnTo>
                    <a:pt x="74581" y="4418839"/>
                  </a:lnTo>
                  <a:lnTo>
                    <a:pt x="402907" y="4418839"/>
                  </a:lnTo>
                  <a:lnTo>
                    <a:pt x="402907" y="3896392"/>
                  </a:lnTo>
                  <a:cubicBezTo>
                    <a:pt x="617030" y="3873913"/>
                    <a:pt x="1046512" y="3799523"/>
                    <a:pt x="1343311" y="3549968"/>
                  </a:cubicBezTo>
                  <a:cubicBezTo>
                    <a:pt x="1631156" y="3307652"/>
                    <a:pt x="1785938" y="3020282"/>
                    <a:pt x="1850136" y="2877693"/>
                  </a:cubicBezTo>
                  <a:lnTo>
                    <a:pt x="2209228" y="2877693"/>
                  </a:lnTo>
                  <a:cubicBezTo>
                    <a:pt x="2244662" y="2877693"/>
                    <a:pt x="2278856" y="2864263"/>
                    <a:pt x="2303812" y="2839784"/>
                  </a:cubicBezTo>
                  <a:cubicBezTo>
                    <a:pt x="2329053" y="2815495"/>
                    <a:pt x="2343054" y="2782157"/>
                    <a:pt x="2342864" y="2747486"/>
                  </a:cubicBezTo>
                  <a:lnTo>
                    <a:pt x="2338769" y="16653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218">
              <a:extLst>
                <a:ext uri="{FF2B5EF4-FFF2-40B4-BE49-F238E27FC236}">
                  <a16:creationId xmlns:a16="http://schemas.microsoft.com/office/drawing/2014/main" id="{20CB8375-BCC3-BC37-1928-43684D4A7CD4}"/>
                </a:ext>
              </a:extLst>
            </p:cNvPr>
            <p:cNvSpPr/>
            <p:nvPr/>
          </p:nvSpPr>
          <p:spPr bwMode="gray">
            <a:xfrm>
              <a:off x="3601879" y="3356515"/>
              <a:ext cx="1724025" cy="2695575"/>
            </a:xfrm>
            <a:custGeom>
              <a:avLst/>
              <a:gdLst>
                <a:gd name="connsiteX0" fmla="*/ 1495520 w 1724025"/>
                <a:gd name="connsiteY0" fmla="*/ 1822609 h 2695575"/>
                <a:gd name="connsiteX1" fmla="*/ 328327 w 1724025"/>
                <a:gd name="connsiteY1" fmla="*/ 454819 h 2695575"/>
                <a:gd name="connsiteX2" fmla="*/ 352139 w 1724025"/>
                <a:gd name="connsiteY2" fmla="*/ 214122 h 2695575"/>
                <a:gd name="connsiteX3" fmla="*/ 63532 w 1724025"/>
                <a:gd name="connsiteY3" fmla="*/ 0 h 2695575"/>
                <a:gd name="connsiteX4" fmla="*/ 0 w 1724025"/>
                <a:gd name="connsiteY4" fmla="*/ 454628 h 2695575"/>
                <a:gd name="connsiteX5" fmla="*/ 1396556 w 1724025"/>
                <a:gd name="connsiteY5" fmla="*/ 2135505 h 2695575"/>
                <a:gd name="connsiteX6" fmla="*/ 1396556 w 1724025"/>
                <a:gd name="connsiteY6" fmla="*/ 2701576 h 2695575"/>
                <a:gd name="connsiteX7" fmla="*/ 1724882 w 1724025"/>
                <a:gd name="connsiteY7" fmla="*/ 2701576 h 2695575"/>
                <a:gd name="connsiteX8" fmla="*/ 1724882 w 1724025"/>
                <a:gd name="connsiteY8" fmla="*/ 2135600 h 2695575"/>
                <a:gd name="connsiteX9" fmla="*/ 1495520 w 1724025"/>
                <a:gd name="connsiteY9" fmla="*/ 1822609 h 26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4025" h="2695575">
                  <a:moveTo>
                    <a:pt x="1495520" y="1822609"/>
                  </a:moveTo>
                  <a:cubicBezTo>
                    <a:pt x="442151" y="1489996"/>
                    <a:pt x="328327" y="755237"/>
                    <a:pt x="328327" y="454819"/>
                  </a:cubicBezTo>
                  <a:cubicBezTo>
                    <a:pt x="328327" y="371094"/>
                    <a:pt x="338042" y="292132"/>
                    <a:pt x="352139" y="214122"/>
                  </a:cubicBezTo>
                  <a:cubicBezTo>
                    <a:pt x="248222" y="153257"/>
                    <a:pt x="151543" y="81343"/>
                    <a:pt x="63532" y="0"/>
                  </a:cubicBezTo>
                  <a:cubicBezTo>
                    <a:pt x="24098" y="137065"/>
                    <a:pt x="0" y="287274"/>
                    <a:pt x="0" y="454628"/>
                  </a:cubicBezTo>
                  <a:cubicBezTo>
                    <a:pt x="0" y="1600295"/>
                    <a:pt x="1050893" y="2026348"/>
                    <a:pt x="1396556" y="2135505"/>
                  </a:cubicBezTo>
                  <a:lnTo>
                    <a:pt x="1396556" y="2701576"/>
                  </a:lnTo>
                  <a:lnTo>
                    <a:pt x="1724882" y="2701576"/>
                  </a:lnTo>
                  <a:lnTo>
                    <a:pt x="1724882" y="2135600"/>
                  </a:lnTo>
                  <a:cubicBezTo>
                    <a:pt x="1724882" y="1992535"/>
                    <a:pt x="1632109" y="1865662"/>
                    <a:pt x="1495520" y="18226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09DCA23-1DCD-C8F0-D58F-1086EBFB4909}"/>
              </a:ext>
            </a:extLst>
          </p:cNvPr>
          <p:cNvCxnSpPr>
            <a:cxnSpLocks/>
          </p:cNvCxnSpPr>
          <p:nvPr/>
        </p:nvCxnSpPr>
        <p:spPr bwMode="gray">
          <a:xfrm>
            <a:off x="754029" y="3862412"/>
            <a:ext cx="1068394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Grafik 102">
            <a:extLst>
              <a:ext uri="{FF2B5EF4-FFF2-40B4-BE49-F238E27FC236}">
                <a16:creationId xmlns:a16="http://schemas.microsoft.com/office/drawing/2014/main" id="{F90D6C83-5D60-0570-A914-86CC40C4A8C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933950" y="4247793"/>
            <a:ext cx="468000" cy="521649"/>
            <a:chOff x="4600575" y="1762125"/>
            <a:chExt cx="2990850" cy="3333750"/>
          </a:xfrm>
          <a:solidFill>
            <a:schemeClr val="bg1"/>
          </a:solidFill>
        </p:grpSpPr>
        <p:sp>
          <p:nvSpPr>
            <p:cNvPr id="112" name="Freihandform: Form 190">
              <a:extLst>
                <a:ext uri="{FF2B5EF4-FFF2-40B4-BE49-F238E27FC236}">
                  <a16:creationId xmlns:a16="http://schemas.microsoft.com/office/drawing/2014/main" id="{AC6F15DF-3D48-7ACF-DB04-A98AB98D777D}"/>
                </a:ext>
              </a:extLst>
            </p:cNvPr>
            <p:cNvSpPr/>
            <p:nvPr/>
          </p:nvSpPr>
          <p:spPr bwMode="gray">
            <a:xfrm>
              <a:off x="5723192" y="3224689"/>
              <a:ext cx="1866900" cy="1866900"/>
            </a:xfrm>
            <a:custGeom>
              <a:avLst/>
              <a:gdLst>
                <a:gd name="connsiteX0" fmla="*/ 1214438 w 1866900"/>
                <a:gd name="connsiteY0" fmla="*/ 656463 h 1866900"/>
                <a:gd name="connsiteX1" fmla="*/ 1214438 w 1866900"/>
                <a:gd name="connsiteY1" fmla="*/ 0 h 1866900"/>
                <a:gd name="connsiteX2" fmla="*/ 653796 w 1866900"/>
                <a:gd name="connsiteY2" fmla="*/ 0 h 1866900"/>
                <a:gd name="connsiteX3" fmla="*/ 653796 w 1866900"/>
                <a:gd name="connsiteY3" fmla="*/ 656463 h 1866900"/>
                <a:gd name="connsiteX4" fmla="*/ 0 w 1866900"/>
                <a:gd name="connsiteY4" fmla="*/ 656463 h 1866900"/>
                <a:gd name="connsiteX5" fmla="*/ 0 w 1866900"/>
                <a:gd name="connsiteY5" fmla="*/ 1216819 h 1866900"/>
                <a:gd name="connsiteX6" fmla="*/ 653796 w 1866900"/>
                <a:gd name="connsiteY6" fmla="*/ 1216819 h 1866900"/>
                <a:gd name="connsiteX7" fmla="*/ 653796 w 1866900"/>
                <a:gd name="connsiteY7" fmla="*/ 1867852 h 1866900"/>
                <a:gd name="connsiteX8" fmla="*/ 1214438 w 1866900"/>
                <a:gd name="connsiteY8" fmla="*/ 1867852 h 1866900"/>
                <a:gd name="connsiteX9" fmla="*/ 1214438 w 1866900"/>
                <a:gd name="connsiteY9" fmla="*/ 1216819 h 1866900"/>
                <a:gd name="connsiteX10" fmla="*/ 1868424 w 1866900"/>
                <a:gd name="connsiteY10" fmla="*/ 1216819 h 1866900"/>
                <a:gd name="connsiteX11" fmla="*/ 1868424 w 1866900"/>
                <a:gd name="connsiteY11" fmla="*/ 656463 h 186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6900" h="1866900">
                  <a:moveTo>
                    <a:pt x="1214438" y="656463"/>
                  </a:moveTo>
                  <a:lnTo>
                    <a:pt x="1214438" y="0"/>
                  </a:lnTo>
                  <a:lnTo>
                    <a:pt x="653796" y="0"/>
                  </a:lnTo>
                  <a:lnTo>
                    <a:pt x="653796" y="656463"/>
                  </a:lnTo>
                  <a:lnTo>
                    <a:pt x="0" y="656463"/>
                  </a:lnTo>
                  <a:lnTo>
                    <a:pt x="0" y="1216819"/>
                  </a:lnTo>
                  <a:lnTo>
                    <a:pt x="653796" y="1216819"/>
                  </a:lnTo>
                  <a:lnTo>
                    <a:pt x="653796" y="1867852"/>
                  </a:lnTo>
                  <a:lnTo>
                    <a:pt x="1214438" y="1867852"/>
                  </a:lnTo>
                  <a:lnTo>
                    <a:pt x="1214438" y="1216819"/>
                  </a:lnTo>
                  <a:lnTo>
                    <a:pt x="1868424" y="1216819"/>
                  </a:lnTo>
                  <a:lnTo>
                    <a:pt x="1868424" y="6564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ihandform: Form 191">
              <a:extLst>
                <a:ext uri="{FF2B5EF4-FFF2-40B4-BE49-F238E27FC236}">
                  <a16:creationId xmlns:a16="http://schemas.microsoft.com/office/drawing/2014/main" id="{81126738-1F5E-D3EF-346C-6A0DE08B3F1C}"/>
                </a:ext>
              </a:extLst>
            </p:cNvPr>
            <p:cNvSpPr/>
            <p:nvPr/>
          </p:nvSpPr>
          <p:spPr bwMode="gray">
            <a:xfrm>
              <a:off x="5179314" y="2537460"/>
              <a:ext cx="809625" cy="400050"/>
            </a:xfrm>
            <a:custGeom>
              <a:avLst/>
              <a:gdLst>
                <a:gd name="connsiteX0" fmla="*/ 407194 w 809625"/>
                <a:gd name="connsiteY0" fmla="*/ 407098 h 400050"/>
                <a:gd name="connsiteX1" fmla="*/ 814292 w 809625"/>
                <a:gd name="connsiteY1" fmla="*/ 0 h 400050"/>
                <a:gd name="connsiteX2" fmla="*/ 0 w 809625"/>
                <a:gd name="connsiteY2" fmla="*/ 0 h 400050"/>
                <a:gd name="connsiteX3" fmla="*/ 407194 w 809625"/>
                <a:gd name="connsiteY3" fmla="*/ 40709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625" h="400050">
                  <a:moveTo>
                    <a:pt x="407194" y="407098"/>
                  </a:moveTo>
                  <a:cubicBezTo>
                    <a:pt x="623792" y="407098"/>
                    <a:pt x="814292" y="242697"/>
                    <a:pt x="814292" y="0"/>
                  </a:cubicBezTo>
                  <a:lnTo>
                    <a:pt x="0" y="0"/>
                  </a:lnTo>
                  <a:cubicBezTo>
                    <a:pt x="0" y="220409"/>
                    <a:pt x="186785" y="407098"/>
                    <a:pt x="407194" y="4070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ihandform: Form 192">
              <a:extLst>
                <a:ext uri="{FF2B5EF4-FFF2-40B4-BE49-F238E27FC236}">
                  <a16:creationId xmlns:a16="http://schemas.microsoft.com/office/drawing/2014/main" id="{E036EB36-47C9-164A-F527-4DDC577C90AF}"/>
                </a:ext>
              </a:extLst>
            </p:cNvPr>
            <p:cNvSpPr/>
            <p:nvPr/>
          </p:nvSpPr>
          <p:spPr bwMode="gray">
            <a:xfrm>
              <a:off x="5086064" y="1762125"/>
              <a:ext cx="1000125" cy="581025"/>
            </a:xfrm>
            <a:custGeom>
              <a:avLst/>
              <a:gdLst>
                <a:gd name="connsiteX0" fmla="*/ 684371 w 1000125"/>
                <a:gd name="connsiteY0" fmla="*/ 403384 h 581025"/>
                <a:gd name="connsiteX1" fmla="*/ 202025 w 1000125"/>
                <a:gd name="connsiteY1" fmla="*/ 403384 h 581025"/>
                <a:gd name="connsiteX2" fmla="*/ 504158 w 1000125"/>
                <a:gd name="connsiteY2" fmla="*/ 186785 h 581025"/>
                <a:gd name="connsiteX3" fmla="*/ 814102 w 1000125"/>
                <a:gd name="connsiteY3" fmla="*/ 496729 h 581025"/>
                <a:gd name="connsiteX4" fmla="*/ 814102 w 1000125"/>
                <a:gd name="connsiteY4" fmla="*/ 590074 h 581025"/>
                <a:gd name="connsiteX5" fmla="*/ 1000887 w 1000125"/>
                <a:gd name="connsiteY5" fmla="*/ 590074 h 581025"/>
                <a:gd name="connsiteX6" fmla="*/ 1000887 w 1000125"/>
                <a:gd name="connsiteY6" fmla="*/ 496729 h 581025"/>
                <a:gd name="connsiteX7" fmla="*/ 504158 w 1000125"/>
                <a:gd name="connsiteY7" fmla="*/ 0 h 581025"/>
                <a:gd name="connsiteX8" fmla="*/ 0 w 1000125"/>
                <a:gd name="connsiteY8" fmla="*/ 496729 h 581025"/>
                <a:gd name="connsiteX9" fmla="*/ 0 w 1000125"/>
                <a:gd name="connsiteY9" fmla="*/ 590074 h 581025"/>
                <a:gd name="connsiteX10" fmla="*/ 684371 w 1000125"/>
                <a:gd name="connsiteY10" fmla="*/ 590074 h 581025"/>
                <a:gd name="connsiteX11" fmla="*/ 684371 w 1000125"/>
                <a:gd name="connsiteY11" fmla="*/ 40338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125" h="581025">
                  <a:moveTo>
                    <a:pt x="684371" y="403384"/>
                  </a:moveTo>
                  <a:lnTo>
                    <a:pt x="202025" y="403384"/>
                  </a:lnTo>
                  <a:cubicBezTo>
                    <a:pt x="243650" y="279368"/>
                    <a:pt x="365284" y="186785"/>
                    <a:pt x="504158" y="186785"/>
                  </a:cubicBezTo>
                  <a:cubicBezTo>
                    <a:pt x="695611" y="186785"/>
                    <a:pt x="814102" y="347663"/>
                    <a:pt x="814102" y="496729"/>
                  </a:cubicBezTo>
                  <a:lnTo>
                    <a:pt x="814102" y="590074"/>
                  </a:lnTo>
                  <a:lnTo>
                    <a:pt x="1000887" y="590074"/>
                  </a:lnTo>
                  <a:lnTo>
                    <a:pt x="1000887" y="496729"/>
                  </a:lnTo>
                  <a:cubicBezTo>
                    <a:pt x="1000887" y="222790"/>
                    <a:pt x="778002" y="0"/>
                    <a:pt x="504158" y="0"/>
                  </a:cubicBezTo>
                  <a:cubicBezTo>
                    <a:pt x="226028" y="0"/>
                    <a:pt x="0" y="222885"/>
                    <a:pt x="0" y="496729"/>
                  </a:cubicBezTo>
                  <a:lnTo>
                    <a:pt x="0" y="590074"/>
                  </a:lnTo>
                  <a:lnTo>
                    <a:pt x="684371" y="590074"/>
                  </a:lnTo>
                  <a:lnTo>
                    <a:pt x="684371" y="4033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5" name="Freihandform: Form 193">
              <a:extLst>
                <a:ext uri="{FF2B5EF4-FFF2-40B4-BE49-F238E27FC236}">
                  <a16:creationId xmlns:a16="http://schemas.microsoft.com/office/drawing/2014/main" id="{F454E9F5-4DDD-EA30-6F81-EB1995732813}"/>
                </a:ext>
              </a:extLst>
            </p:cNvPr>
            <p:cNvSpPr/>
            <p:nvPr/>
          </p:nvSpPr>
          <p:spPr bwMode="gray">
            <a:xfrm>
              <a:off x="4600575" y="3131534"/>
              <a:ext cx="1581150" cy="1581150"/>
            </a:xfrm>
            <a:custGeom>
              <a:avLst/>
              <a:gdLst>
                <a:gd name="connsiteX0" fmla="*/ 1588199 w 1581150"/>
                <a:gd name="connsiteY0" fmla="*/ 214027 h 1581150"/>
                <a:gd name="connsiteX1" fmla="*/ 1166241 w 1581150"/>
                <a:gd name="connsiteY1" fmla="*/ 0 h 1581150"/>
                <a:gd name="connsiteX2" fmla="*/ 514731 w 1581150"/>
                <a:gd name="connsiteY2" fmla="*/ 0 h 1581150"/>
                <a:gd name="connsiteX3" fmla="*/ 0 w 1581150"/>
                <a:gd name="connsiteY3" fmla="*/ 514731 h 1581150"/>
                <a:gd name="connsiteX4" fmla="*/ 0 w 1581150"/>
                <a:gd name="connsiteY4" fmla="*/ 1587627 h 1581150"/>
                <a:gd name="connsiteX5" fmla="*/ 560356 w 1581150"/>
                <a:gd name="connsiteY5" fmla="*/ 1587627 h 1581150"/>
                <a:gd name="connsiteX6" fmla="*/ 560737 w 1581150"/>
                <a:gd name="connsiteY6" fmla="*/ 653701 h 1581150"/>
                <a:gd name="connsiteX7" fmla="*/ 653796 w 1581150"/>
                <a:gd name="connsiteY7" fmla="*/ 560356 h 1581150"/>
                <a:gd name="connsiteX8" fmla="*/ 1588294 w 1581150"/>
                <a:gd name="connsiteY8" fmla="*/ 560356 h 1581150"/>
                <a:gd name="connsiteX9" fmla="*/ 1588294 w 1581150"/>
                <a:gd name="connsiteY9" fmla="*/ 214027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1150" h="1581150">
                  <a:moveTo>
                    <a:pt x="1588199" y="214027"/>
                  </a:moveTo>
                  <a:cubicBezTo>
                    <a:pt x="1494377" y="84677"/>
                    <a:pt x="1337691" y="0"/>
                    <a:pt x="1166241" y="0"/>
                  </a:cubicBezTo>
                  <a:lnTo>
                    <a:pt x="514731" y="0"/>
                  </a:lnTo>
                  <a:cubicBezTo>
                    <a:pt x="230981" y="0"/>
                    <a:pt x="0" y="230981"/>
                    <a:pt x="0" y="514731"/>
                  </a:cubicBezTo>
                  <a:lnTo>
                    <a:pt x="0" y="1587627"/>
                  </a:lnTo>
                  <a:lnTo>
                    <a:pt x="560356" y="1587627"/>
                  </a:lnTo>
                  <a:cubicBezTo>
                    <a:pt x="560356" y="1587627"/>
                    <a:pt x="560737" y="653796"/>
                    <a:pt x="560737" y="653701"/>
                  </a:cubicBezTo>
                  <a:cubicBezTo>
                    <a:pt x="562451" y="589788"/>
                    <a:pt x="589502" y="560356"/>
                    <a:pt x="653796" y="560356"/>
                  </a:cubicBezTo>
                  <a:cubicBezTo>
                    <a:pt x="654368" y="560356"/>
                    <a:pt x="1509046" y="560356"/>
                    <a:pt x="1588294" y="560356"/>
                  </a:cubicBezTo>
                  <a:lnTo>
                    <a:pt x="1588294" y="214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16" name="Group 29">
            <a:extLst>
              <a:ext uri="{FF2B5EF4-FFF2-40B4-BE49-F238E27FC236}">
                <a16:creationId xmlns:a16="http://schemas.microsoft.com/office/drawing/2014/main" id="{5CA6DF8D-7DF7-0028-1D95-28C087B2FC3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39094" y="4206051"/>
            <a:ext cx="569913" cy="539750"/>
            <a:chOff x="2984" y="1820"/>
            <a:chExt cx="359" cy="340"/>
          </a:xfrm>
          <a:solidFill>
            <a:schemeClr val="bg1"/>
          </a:solidFill>
        </p:grpSpPr>
        <p:sp>
          <p:nvSpPr>
            <p:cNvPr id="117" name="Rectangle 30">
              <a:extLst>
                <a:ext uri="{FF2B5EF4-FFF2-40B4-BE49-F238E27FC236}">
                  <a16:creationId xmlns:a16="http://schemas.microsoft.com/office/drawing/2014/main" id="{C154AA0B-A8E1-B0AF-167F-4DBEED950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2" y="1971"/>
              <a:ext cx="85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8" name="Rectangle 31">
              <a:extLst>
                <a:ext uri="{FF2B5EF4-FFF2-40B4-BE49-F238E27FC236}">
                  <a16:creationId xmlns:a16="http://schemas.microsoft.com/office/drawing/2014/main" id="{435D27AA-7F91-D0A3-C7B8-0DA993DE64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2" y="1896"/>
              <a:ext cx="141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9" name="Rectangle 32">
              <a:extLst>
                <a:ext uri="{FF2B5EF4-FFF2-40B4-BE49-F238E27FC236}">
                  <a16:creationId xmlns:a16="http://schemas.microsoft.com/office/drawing/2014/main" id="{369625A8-E86E-42CB-85FF-B92A1EE9FB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2" y="1933"/>
              <a:ext cx="113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33">
              <a:extLst>
                <a:ext uri="{FF2B5EF4-FFF2-40B4-BE49-F238E27FC236}">
                  <a16:creationId xmlns:a16="http://schemas.microsoft.com/office/drawing/2014/main" id="{18CBE0A3-126D-ADB4-942A-BD8524517DC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4" y="1820"/>
              <a:ext cx="264" cy="340"/>
            </a:xfrm>
            <a:custGeom>
              <a:avLst/>
              <a:gdLst>
                <a:gd name="T0" fmla="*/ 1366 w 1471"/>
                <a:gd name="T1" fmla="*/ 1470 h 1890"/>
                <a:gd name="T2" fmla="*/ 1366 w 1471"/>
                <a:gd name="T3" fmla="*/ 1785 h 1890"/>
                <a:gd name="T4" fmla="*/ 105 w 1471"/>
                <a:gd name="T5" fmla="*/ 1785 h 1890"/>
                <a:gd name="T6" fmla="*/ 105 w 1471"/>
                <a:gd name="T7" fmla="*/ 105 h 1890"/>
                <a:gd name="T8" fmla="*/ 1081 w 1471"/>
                <a:gd name="T9" fmla="*/ 105 h 1890"/>
                <a:gd name="T10" fmla="*/ 1366 w 1471"/>
                <a:gd name="T11" fmla="*/ 386 h 1890"/>
                <a:gd name="T12" fmla="*/ 1365 w 1471"/>
                <a:gd name="T13" fmla="*/ 945 h 1890"/>
                <a:gd name="T14" fmla="*/ 1470 w 1471"/>
                <a:gd name="T15" fmla="*/ 945 h 1890"/>
                <a:gd name="T16" fmla="*/ 1471 w 1471"/>
                <a:gd name="T17" fmla="*/ 365 h 1890"/>
                <a:gd name="T18" fmla="*/ 1455 w 1471"/>
                <a:gd name="T19" fmla="*/ 327 h 1890"/>
                <a:gd name="T20" fmla="*/ 1139 w 1471"/>
                <a:gd name="T21" fmla="*/ 15 h 1890"/>
                <a:gd name="T22" fmla="*/ 1102 w 1471"/>
                <a:gd name="T23" fmla="*/ 0 h 1890"/>
                <a:gd name="T24" fmla="*/ 52 w 1471"/>
                <a:gd name="T25" fmla="*/ 0 h 1890"/>
                <a:gd name="T26" fmla="*/ 0 w 1471"/>
                <a:gd name="T27" fmla="*/ 52 h 1890"/>
                <a:gd name="T28" fmla="*/ 0 w 1471"/>
                <a:gd name="T29" fmla="*/ 1837 h 1890"/>
                <a:gd name="T30" fmla="*/ 52 w 1471"/>
                <a:gd name="T31" fmla="*/ 1890 h 1890"/>
                <a:gd name="T32" fmla="*/ 1418 w 1471"/>
                <a:gd name="T33" fmla="*/ 1890 h 1890"/>
                <a:gd name="T34" fmla="*/ 1471 w 1471"/>
                <a:gd name="T35" fmla="*/ 1837 h 1890"/>
                <a:gd name="T36" fmla="*/ 1471 w 1471"/>
                <a:gd name="T37" fmla="*/ 1470 h 1890"/>
                <a:gd name="T38" fmla="*/ 1366 w 1471"/>
                <a:gd name="T39" fmla="*/ 1470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71" h="1890">
                  <a:moveTo>
                    <a:pt x="1366" y="1470"/>
                  </a:moveTo>
                  <a:cubicBezTo>
                    <a:pt x="1366" y="1785"/>
                    <a:pt x="1366" y="1785"/>
                    <a:pt x="1366" y="1785"/>
                  </a:cubicBezTo>
                  <a:cubicBezTo>
                    <a:pt x="105" y="1785"/>
                    <a:pt x="105" y="1785"/>
                    <a:pt x="105" y="178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81" y="105"/>
                    <a:pt x="1081" y="105"/>
                    <a:pt x="1081" y="105"/>
                  </a:cubicBezTo>
                  <a:cubicBezTo>
                    <a:pt x="1184" y="206"/>
                    <a:pt x="1264" y="284"/>
                    <a:pt x="1366" y="386"/>
                  </a:cubicBezTo>
                  <a:cubicBezTo>
                    <a:pt x="1365" y="945"/>
                    <a:pt x="1365" y="945"/>
                    <a:pt x="1365" y="945"/>
                  </a:cubicBezTo>
                  <a:cubicBezTo>
                    <a:pt x="1470" y="945"/>
                    <a:pt x="1470" y="945"/>
                    <a:pt x="1470" y="945"/>
                  </a:cubicBezTo>
                  <a:cubicBezTo>
                    <a:pt x="1471" y="365"/>
                    <a:pt x="1471" y="365"/>
                    <a:pt x="1471" y="365"/>
                  </a:cubicBezTo>
                  <a:cubicBezTo>
                    <a:pt x="1471" y="351"/>
                    <a:pt x="1465" y="337"/>
                    <a:pt x="1455" y="327"/>
                  </a:cubicBezTo>
                  <a:cubicBezTo>
                    <a:pt x="1340" y="212"/>
                    <a:pt x="1255" y="128"/>
                    <a:pt x="1139" y="15"/>
                  </a:cubicBezTo>
                  <a:cubicBezTo>
                    <a:pt x="1129" y="5"/>
                    <a:pt x="1116" y="0"/>
                    <a:pt x="110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3"/>
                    <a:pt x="0" y="52"/>
                  </a:cubicBezTo>
                  <a:cubicBezTo>
                    <a:pt x="0" y="1837"/>
                    <a:pt x="0" y="1837"/>
                    <a:pt x="0" y="1837"/>
                  </a:cubicBezTo>
                  <a:cubicBezTo>
                    <a:pt x="0" y="1866"/>
                    <a:pt x="23" y="1890"/>
                    <a:pt x="52" y="1890"/>
                  </a:cubicBezTo>
                  <a:cubicBezTo>
                    <a:pt x="1418" y="1890"/>
                    <a:pt x="1418" y="1890"/>
                    <a:pt x="1418" y="1890"/>
                  </a:cubicBezTo>
                  <a:cubicBezTo>
                    <a:pt x="1447" y="1890"/>
                    <a:pt x="1471" y="1866"/>
                    <a:pt x="1471" y="1837"/>
                  </a:cubicBezTo>
                  <a:cubicBezTo>
                    <a:pt x="1471" y="1470"/>
                    <a:pt x="1471" y="1470"/>
                    <a:pt x="1471" y="1470"/>
                  </a:cubicBezTo>
                  <a:lnTo>
                    <a:pt x="1366" y="14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1" name="Freeform 34">
              <a:extLst>
                <a:ext uri="{FF2B5EF4-FFF2-40B4-BE49-F238E27FC236}">
                  <a16:creationId xmlns:a16="http://schemas.microsoft.com/office/drawing/2014/main" id="{EEC358D3-DA64-2964-55B1-9C89BAA1389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4" y="1967"/>
              <a:ext cx="199" cy="142"/>
            </a:xfrm>
            <a:custGeom>
              <a:avLst/>
              <a:gdLst>
                <a:gd name="T0" fmla="*/ 0 w 1107"/>
                <a:gd name="T1" fmla="*/ 236 h 787"/>
                <a:gd name="T2" fmla="*/ 0 w 1107"/>
                <a:gd name="T3" fmla="*/ 548 h 787"/>
                <a:gd name="T4" fmla="*/ 0 w 1107"/>
                <a:gd name="T5" fmla="*/ 234 h 787"/>
                <a:gd name="T6" fmla="*/ 647 w 1107"/>
                <a:gd name="T7" fmla="*/ 234 h 787"/>
                <a:gd name="T8" fmla="*/ 683 w 1107"/>
                <a:gd name="T9" fmla="*/ 197 h 787"/>
                <a:gd name="T10" fmla="*/ 683 w 1107"/>
                <a:gd name="T11" fmla="*/ 56 h 787"/>
                <a:gd name="T12" fmla="*/ 707 w 1107"/>
                <a:gd name="T13" fmla="*/ 8 h 787"/>
                <a:gd name="T14" fmla="*/ 764 w 1107"/>
                <a:gd name="T15" fmla="*/ 22 h 787"/>
                <a:gd name="T16" fmla="*/ 1093 w 1107"/>
                <a:gd name="T17" fmla="*/ 380 h 787"/>
                <a:gd name="T18" fmla="*/ 1090 w 1107"/>
                <a:gd name="T19" fmla="*/ 417 h 787"/>
                <a:gd name="T20" fmla="*/ 795 w 1107"/>
                <a:gd name="T21" fmla="*/ 730 h 787"/>
                <a:gd name="T22" fmla="*/ 761 w 1107"/>
                <a:gd name="T23" fmla="*/ 767 h 787"/>
                <a:gd name="T24" fmla="*/ 708 w 1107"/>
                <a:gd name="T25" fmla="*/ 780 h 787"/>
                <a:gd name="T26" fmla="*/ 683 w 1107"/>
                <a:gd name="T27" fmla="*/ 735 h 787"/>
                <a:gd name="T28" fmla="*/ 683 w 1107"/>
                <a:gd name="T29" fmla="*/ 580 h 787"/>
                <a:gd name="T30" fmla="*/ 653 w 1107"/>
                <a:gd name="T31" fmla="*/ 550 h 787"/>
                <a:gd name="T32" fmla="*/ 0 w 1107"/>
                <a:gd name="T33" fmla="*/ 548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7" h="787">
                  <a:moveTo>
                    <a:pt x="0" y="236"/>
                  </a:moveTo>
                  <a:cubicBezTo>
                    <a:pt x="0" y="341"/>
                    <a:pt x="0" y="444"/>
                    <a:pt x="0" y="548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647" y="234"/>
                    <a:pt x="647" y="234"/>
                    <a:pt x="647" y="234"/>
                  </a:cubicBezTo>
                  <a:cubicBezTo>
                    <a:pt x="682" y="234"/>
                    <a:pt x="682" y="234"/>
                    <a:pt x="683" y="197"/>
                  </a:cubicBezTo>
                  <a:cubicBezTo>
                    <a:pt x="683" y="150"/>
                    <a:pt x="682" y="103"/>
                    <a:pt x="683" y="56"/>
                  </a:cubicBezTo>
                  <a:cubicBezTo>
                    <a:pt x="683" y="36"/>
                    <a:pt x="685" y="16"/>
                    <a:pt x="707" y="8"/>
                  </a:cubicBezTo>
                  <a:cubicBezTo>
                    <a:pt x="728" y="0"/>
                    <a:pt x="748" y="4"/>
                    <a:pt x="764" y="22"/>
                  </a:cubicBezTo>
                  <a:cubicBezTo>
                    <a:pt x="877" y="141"/>
                    <a:pt x="979" y="263"/>
                    <a:pt x="1093" y="380"/>
                  </a:cubicBezTo>
                  <a:cubicBezTo>
                    <a:pt x="1107" y="395"/>
                    <a:pt x="1102" y="404"/>
                    <a:pt x="1090" y="417"/>
                  </a:cubicBezTo>
                  <a:cubicBezTo>
                    <a:pt x="988" y="522"/>
                    <a:pt x="897" y="624"/>
                    <a:pt x="795" y="730"/>
                  </a:cubicBezTo>
                  <a:cubicBezTo>
                    <a:pt x="784" y="742"/>
                    <a:pt x="773" y="755"/>
                    <a:pt x="761" y="767"/>
                  </a:cubicBezTo>
                  <a:cubicBezTo>
                    <a:pt x="747" y="782"/>
                    <a:pt x="729" y="787"/>
                    <a:pt x="708" y="780"/>
                  </a:cubicBezTo>
                  <a:cubicBezTo>
                    <a:pt x="688" y="772"/>
                    <a:pt x="683" y="755"/>
                    <a:pt x="683" y="735"/>
                  </a:cubicBezTo>
                  <a:cubicBezTo>
                    <a:pt x="683" y="683"/>
                    <a:pt x="682" y="631"/>
                    <a:pt x="683" y="580"/>
                  </a:cubicBezTo>
                  <a:cubicBezTo>
                    <a:pt x="683" y="557"/>
                    <a:pt x="676" y="550"/>
                    <a:pt x="653" y="550"/>
                  </a:cubicBezTo>
                  <a:cubicBezTo>
                    <a:pt x="0" y="548"/>
                    <a:pt x="0" y="548"/>
                    <a:pt x="0" y="5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2" name="Freeform 35">
              <a:extLst>
                <a:ext uri="{FF2B5EF4-FFF2-40B4-BE49-F238E27FC236}">
                  <a16:creationId xmlns:a16="http://schemas.microsoft.com/office/drawing/2014/main" id="{006BBD67-756F-730F-5B9C-4545C53BDA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2" y="2065"/>
              <a:ext cx="189" cy="56"/>
            </a:xfrm>
            <a:custGeom>
              <a:avLst/>
              <a:gdLst>
                <a:gd name="T0" fmla="*/ 102 w 189"/>
                <a:gd name="T1" fmla="*/ 19 h 56"/>
                <a:gd name="T2" fmla="*/ 102 w 189"/>
                <a:gd name="T3" fmla="*/ 0 h 56"/>
                <a:gd name="T4" fmla="*/ 0 w 189"/>
                <a:gd name="T5" fmla="*/ 0 h 56"/>
                <a:gd name="T6" fmla="*/ 0 w 189"/>
                <a:gd name="T7" fmla="*/ 56 h 56"/>
                <a:gd name="T8" fmla="*/ 189 w 189"/>
                <a:gd name="T9" fmla="*/ 56 h 56"/>
                <a:gd name="T10" fmla="*/ 189 w 189"/>
                <a:gd name="T11" fmla="*/ 19 h 56"/>
                <a:gd name="T12" fmla="*/ 102 w 189"/>
                <a:gd name="T13" fmla="*/ 1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56">
                  <a:moveTo>
                    <a:pt x="102" y="19"/>
                  </a:moveTo>
                  <a:lnTo>
                    <a:pt x="102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189" y="56"/>
                  </a:lnTo>
                  <a:lnTo>
                    <a:pt x="189" y="19"/>
                  </a:lnTo>
                  <a:lnTo>
                    <a:pt x="10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" name="Grafik 183">
            <a:extLst>
              <a:ext uri="{FF2B5EF4-FFF2-40B4-BE49-F238E27FC236}">
                <a16:creationId xmlns:a16="http://schemas.microsoft.com/office/drawing/2014/main" id="{EF348584-9083-6986-FA17-1EE5F9C31D7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59641" y="2331230"/>
            <a:ext cx="480142" cy="540000"/>
            <a:chOff x="4300537" y="1409700"/>
            <a:chExt cx="3590925" cy="4038600"/>
          </a:xfrm>
          <a:solidFill>
            <a:schemeClr val="bg1"/>
          </a:solidFill>
        </p:grpSpPr>
        <p:sp>
          <p:nvSpPr>
            <p:cNvPr id="14" name="Freihandform: Form 185">
              <a:extLst>
                <a:ext uri="{FF2B5EF4-FFF2-40B4-BE49-F238E27FC236}">
                  <a16:creationId xmlns:a16="http://schemas.microsoft.com/office/drawing/2014/main" id="{43EF267E-8941-7937-631E-43297B01792A}"/>
                </a:ext>
              </a:extLst>
            </p:cNvPr>
            <p:cNvSpPr/>
            <p:nvPr/>
          </p:nvSpPr>
          <p:spPr bwMode="gray">
            <a:xfrm>
              <a:off x="5758529" y="4884134"/>
              <a:ext cx="666750" cy="561975"/>
            </a:xfrm>
            <a:custGeom>
              <a:avLst/>
              <a:gdLst>
                <a:gd name="connsiteX0" fmla="*/ 0 w 666750"/>
                <a:gd name="connsiteY0" fmla="*/ 0 h 561975"/>
                <a:gd name="connsiteX1" fmla="*/ 672941 w 666750"/>
                <a:gd name="connsiteY1" fmla="*/ 0 h 561975"/>
                <a:gd name="connsiteX2" fmla="*/ 672941 w 666750"/>
                <a:gd name="connsiteY2" fmla="*/ 564166 h 561975"/>
                <a:gd name="connsiteX3" fmla="*/ 0 w 666750"/>
                <a:gd name="connsiteY3" fmla="*/ 564166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0" h="561975">
                  <a:moveTo>
                    <a:pt x="0" y="0"/>
                  </a:moveTo>
                  <a:lnTo>
                    <a:pt x="672941" y="0"/>
                  </a:lnTo>
                  <a:lnTo>
                    <a:pt x="672941" y="564166"/>
                  </a:lnTo>
                  <a:lnTo>
                    <a:pt x="0" y="5641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186">
              <a:extLst>
                <a:ext uri="{FF2B5EF4-FFF2-40B4-BE49-F238E27FC236}">
                  <a16:creationId xmlns:a16="http://schemas.microsoft.com/office/drawing/2014/main" id="{7D69477D-0BCA-772B-AB71-7F92366A9E6A}"/>
                </a:ext>
              </a:extLst>
            </p:cNvPr>
            <p:cNvSpPr/>
            <p:nvPr/>
          </p:nvSpPr>
          <p:spPr bwMode="gray">
            <a:xfrm>
              <a:off x="6655784" y="1409700"/>
              <a:ext cx="895350" cy="895350"/>
            </a:xfrm>
            <a:custGeom>
              <a:avLst/>
              <a:gdLst>
                <a:gd name="connsiteX0" fmla="*/ 897255 w 895350"/>
                <a:gd name="connsiteY0" fmla="*/ 448628 h 895350"/>
                <a:gd name="connsiteX1" fmla="*/ 448627 w 895350"/>
                <a:gd name="connsiteY1" fmla="*/ 897255 h 895350"/>
                <a:gd name="connsiteX2" fmla="*/ 0 w 895350"/>
                <a:gd name="connsiteY2" fmla="*/ 448628 h 895350"/>
                <a:gd name="connsiteX3" fmla="*/ 448627 w 895350"/>
                <a:gd name="connsiteY3" fmla="*/ 0 h 895350"/>
                <a:gd name="connsiteX4" fmla="*/ 897255 w 895350"/>
                <a:gd name="connsiteY4" fmla="*/ 448628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350" h="895350">
                  <a:moveTo>
                    <a:pt x="897255" y="448628"/>
                  </a:moveTo>
                  <a:cubicBezTo>
                    <a:pt x="897255" y="696398"/>
                    <a:pt x="696398" y="897255"/>
                    <a:pt x="448627" y="897255"/>
                  </a:cubicBezTo>
                  <a:cubicBezTo>
                    <a:pt x="200857" y="897255"/>
                    <a:pt x="0" y="696398"/>
                    <a:pt x="0" y="448628"/>
                  </a:cubicBezTo>
                  <a:cubicBezTo>
                    <a:pt x="0" y="200857"/>
                    <a:pt x="200857" y="0"/>
                    <a:pt x="448627" y="0"/>
                  </a:cubicBezTo>
                  <a:cubicBezTo>
                    <a:pt x="696398" y="0"/>
                    <a:pt x="897255" y="200857"/>
                    <a:pt x="897255" y="448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187">
              <a:extLst>
                <a:ext uri="{FF2B5EF4-FFF2-40B4-BE49-F238E27FC236}">
                  <a16:creationId xmlns:a16="http://schemas.microsoft.com/office/drawing/2014/main" id="{01AE2C7C-692D-175B-DF96-BE5A7C1DE612}"/>
                </a:ext>
              </a:extLst>
            </p:cNvPr>
            <p:cNvSpPr/>
            <p:nvPr/>
          </p:nvSpPr>
          <p:spPr bwMode="gray">
            <a:xfrm>
              <a:off x="4639437" y="1409700"/>
              <a:ext cx="895350" cy="895350"/>
            </a:xfrm>
            <a:custGeom>
              <a:avLst/>
              <a:gdLst>
                <a:gd name="connsiteX0" fmla="*/ 897255 w 895350"/>
                <a:gd name="connsiteY0" fmla="*/ 448628 h 895350"/>
                <a:gd name="connsiteX1" fmla="*/ 448628 w 895350"/>
                <a:gd name="connsiteY1" fmla="*/ 897255 h 895350"/>
                <a:gd name="connsiteX2" fmla="*/ 0 w 895350"/>
                <a:gd name="connsiteY2" fmla="*/ 448628 h 895350"/>
                <a:gd name="connsiteX3" fmla="*/ 448628 w 895350"/>
                <a:gd name="connsiteY3" fmla="*/ 0 h 895350"/>
                <a:gd name="connsiteX4" fmla="*/ 897255 w 895350"/>
                <a:gd name="connsiteY4" fmla="*/ 448628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350" h="895350">
                  <a:moveTo>
                    <a:pt x="897255" y="448628"/>
                  </a:moveTo>
                  <a:cubicBezTo>
                    <a:pt x="897255" y="696398"/>
                    <a:pt x="696398" y="897255"/>
                    <a:pt x="448628" y="897255"/>
                  </a:cubicBezTo>
                  <a:cubicBezTo>
                    <a:pt x="200857" y="897255"/>
                    <a:pt x="0" y="696398"/>
                    <a:pt x="0" y="448628"/>
                  </a:cubicBezTo>
                  <a:cubicBezTo>
                    <a:pt x="0" y="200857"/>
                    <a:pt x="200857" y="0"/>
                    <a:pt x="448628" y="0"/>
                  </a:cubicBezTo>
                  <a:cubicBezTo>
                    <a:pt x="696398" y="0"/>
                    <a:pt x="897255" y="200857"/>
                    <a:pt x="897255" y="448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188">
              <a:extLst>
                <a:ext uri="{FF2B5EF4-FFF2-40B4-BE49-F238E27FC236}">
                  <a16:creationId xmlns:a16="http://schemas.microsoft.com/office/drawing/2014/main" id="{CE8AB4B2-6A37-F7DE-A999-34F97E7E0CCC}"/>
                </a:ext>
              </a:extLst>
            </p:cNvPr>
            <p:cNvSpPr/>
            <p:nvPr/>
          </p:nvSpPr>
          <p:spPr bwMode="gray">
            <a:xfrm>
              <a:off x="4749164" y="4437888"/>
              <a:ext cx="666750" cy="1009650"/>
            </a:xfrm>
            <a:custGeom>
              <a:avLst/>
              <a:gdLst>
                <a:gd name="connsiteX0" fmla="*/ 341186 w 666750"/>
                <a:gd name="connsiteY0" fmla="*/ 677418 h 1009650"/>
                <a:gd name="connsiteX1" fmla="*/ 341186 w 666750"/>
                <a:gd name="connsiteY1" fmla="*/ 349663 h 1009650"/>
                <a:gd name="connsiteX2" fmla="*/ 341186 w 666750"/>
                <a:gd name="connsiteY2" fmla="*/ 0 h 1009650"/>
                <a:gd name="connsiteX3" fmla="*/ 0 w 666750"/>
                <a:gd name="connsiteY3" fmla="*/ 0 h 1009650"/>
                <a:gd name="connsiteX4" fmla="*/ 0 w 666750"/>
                <a:gd name="connsiteY4" fmla="*/ 1010317 h 1009650"/>
                <a:gd name="connsiteX5" fmla="*/ 672941 w 666750"/>
                <a:gd name="connsiteY5" fmla="*/ 1010317 h 1009650"/>
                <a:gd name="connsiteX6" fmla="*/ 672941 w 666750"/>
                <a:gd name="connsiteY6" fmla="*/ 677418 h 1009650"/>
                <a:gd name="connsiteX7" fmla="*/ 540925 w 666750"/>
                <a:gd name="connsiteY7" fmla="*/ 677418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6750" h="1009650">
                  <a:moveTo>
                    <a:pt x="341186" y="677418"/>
                  </a:moveTo>
                  <a:lnTo>
                    <a:pt x="341186" y="349663"/>
                  </a:lnTo>
                  <a:lnTo>
                    <a:pt x="341186" y="0"/>
                  </a:lnTo>
                  <a:lnTo>
                    <a:pt x="0" y="0"/>
                  </a:lnTo>
                  <a:lnTo>
                    <a:pt x="0" y="1010317"/>
                  </a:lnTo>
                  <a:lnTo>
                    <a:pt x="672941" y="1010317"/>
                  </a:lnTo>
                  <a:lnTo>
                    <a:pt x="672941" y="677418"/>
                  </a:lnTo>
                  <a:lnTo>
                    <a:pt x="540925" y="6774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189">
              <a:extLst>
                <a:ext uri="{FF2B5EF4-FFF2-40B4-BE49-F238E27FC236}">
                  <a16:creationId xmlns:a16="http://schemas.microsoft.com/office/drawing/2014/main" id="{15B1AA22-6095-ACAA-A80C-CCB471B898E0}"/>
                </a:ext>
              </a:extLst>
            </p:cNvPr>
            <p:cNvSpPr/>
            <p:nvPr/>
          </p:nvSpPr>
          <p:spPr bwMode="gray">
            <a:xfrm>
              <a:off x="5309997" y="3204210"/>
              <a:ext cx="1562100" cy="1676400"/>
            </a:xfrm>
            <a:custGeom>
              <a:avLst/>
              <a:gdLst>
                <a:gd name="connsiteX0" fmla="*/ 1570101 w 1562100"/>
                <a:gd name="connsiteY0" fmla="*/ 1682306 h 1676400"/>
                <a:gd name="connsiteX1" fmla="*/ 1570101 w 1562100"/>
                <a:gd name="connsiteY1" fmla="*/ 560737 h 1676400"/>
                <a:gd name="connsiteX2" fmla="*/ 1009364 w 1562100"/>
                <a:gd name="connsiteY2" fmla="*/ 0 h 1676400"/>
                <a:gd name="connsiteX3" fmla="*/ 560737 w 1562100"/>
                <a:gd name="connsiteY3" fmla="*/ 0 h 1676400"/>
                <a:gd name="connsiteX4" fmla="*/ 0 w 1562100"/>
                <a:gd name="connsiteY4" fmla="*/ 560737 h 1676400"/>
                <a:gd name="connsiteX5" fmla="*/ 0 w 1562100"/>
                <a:gd name="connsiteY5" fmla="*/ 1682306 h 1676400"/>
                <a:gd name="connsiteX6" fmla="*/ 224314 w 1562100"/>
                <a:gd name="connsiteY6" fmla="*/ 1682306 h 1676400"/>
                <a:gd name="connsiteX7" fmla="*/ 224314 w 1562100"/>
                <a:gd name="connsiteY7" fmla="*/ 560737 h 1676400"/>
                <a:gd name="connsiteX8" fmla="*/ 560737 w 1562100"/>
                <a:gd name="connsiteY8" fmla="*/ 224314 h 1676400"/>
                <a:gd name="connsiteX9" fmla="*/ 1009364 w 1562100"/>
                <a:gd name="connsiteY9" fmla="*/ 224314 h 1676400"/>
                <a:gd name="connsiteX10" fmla="*/ 1345787 w 1562100"/>
                <a:gd name="connsiteY10" fmla="*/ 560737 h 1676400"/>
                <a:gd name="connsiteX11" fmla="*/ 1345787 w 1562100"/>
                <a:gd name="connsiteY11" fmla="*/ 1682306 h 1676400"/>
                <a:gd name="connsiteX12" fmla="*/ 1570101 w 1562100"/>
                <a:gd name="connsiteY12" fmla="*/ 1682306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62100" h="1676400">
                  <a:moveTo>
                    <a:pt x="1570101" y="1682306"/>
                  </a:moveTo>
                  <a:lnTo>
                    <a:pt x="1570101" y="560737"/>
                  </a:lnTo>
                  <a:cubicBezTo>
                    <a:pt x="1570101" y="251555"/>
                    <a:pt x="1318546" y="0"/>
                    <a:pt x="1009364" y="0"/>
                  </a:cubicBezTo>
                  <a:lnTo>
                    <a:pt x="560737" y="0"/>
                  </a:lnTo>
                  <a:cubicBezTo>
                    <a:pt x="251555" y="0"/>
                    <a:pt x="0" y="251555"/>
                    <a:pt x="0" y="560737"/>
                  </a:cubicBezTo>
                  <a:lnTo>
                    <a:pt x="0" y="1682306"/>
                  </a:lnTo>
                  <a:lnTo>
                    <a:pt x="224314" y="1682306"/>
                  </a:lnTo>
                  <a:lnTo>
                    <a:pt x="224314" y="560737"/>
                  </a:lnTo>
                  <a:cubicBezTo>
                    <a:pt x="224314" y="375190"/>
                    <a:pt x="375285" y="224314"/>
                    <a:pt x="560737" y="224314"/>
                  </a:cubicBezTo>
                  <a:lnTo>
                    <a:pt x="1009364" y="224314"/>
                  </a:lnTo>
                  <a:cubicBezTo>
                    <a:pt x="1194911" y="224314"/>
                    <a:pt x="1345787" y="375285"/>
                    <a:pt x="1345787" y="560737"/>
                  </a:cubicBezTo>
                  <a:lnTo>
                    <a:pt x="1345787" y="1682306"/>
                  </a:lnTo>
                  <a:lnTo>
                    <a:pt x="1570101" y="16823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190">
              <a:extLst>
                <a:ext uri="{FF2B5EF4-FFF2-40B4-BE49-F238E27FC236}">
                  <a16:creationId xmlns:a16="http://schemas.microsoft.com/office/drawing/2014/main" id="{146EF1B4-6604-DFE4-B052-3D4462126B52}"/>
                </a:ext>
              </a:extLst>
            </p:cNvPr>
            <p:cNvSpPr/>
            <p:nvPr/>
          </p:nvSpPr>
          <p:spPr bwMode="gray">
            <a:xfrm>
              <a:off x="5648896" y="2082641"/>
              <a:ext cx="895350" cy="895350"/>
            </a:xfrm>
            <a:custGeom>
              <a:avLst/>
              <a:gdLst>
                <a:gd name="connsiteX0" fmla="*/ 897255 w 895350"/>
                <a:gd name="connsiteY0" fmla="*/ 448628 h 895350"/>
                <a:gd name="connsiteX1" fmla="*/ 448627 w 895350"/>
                <a:gd name="connsiteY1" fmla="*/ 897255 h 895350"/>
                <a:gd name="connsiteX2" fmla="*/ 0 w 895350"/>
                <a:gd name="connsiteY2" fmla="*/ 448628 h 895350"/>
                <a:gd name="connsiteX3" fmla="*/ 448627 w 895350"/>
                <a:gd name="connsiteY3" fmla="*/ 0 h 895350"/>
                <a:gd name="connsiteX4" fmla="*/ 897255 w 895350"/>
                <a:gd name="connsiteY4" fmla="*/ 448628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350" h="895350">
                  <a:moveTo>
                    <a:pt x="897255" y="448628"/>
                  </a:moveTo>
                  <a:cubicBezTo>
                    <a:pt x="897255" y="696398"/>
                    <a:pt x="696398" y="897255"/>
                    <a:pt x="448627" y="897255"/>
                  </a:cubicBezTo>
                  <a:cubicBezTo>
                    <a:pt x="200857" y="897255"/>
                    <a:pt x="0" y="696398"/>
                    <a:pt x="0" y="448628"/>
                  </a:cubicBezTo>
                  <a:cubicBezTo>
                    <a:pt x="0" y="200857"/>
                    <a:pt x="200857" y="0"/>
                    <a:pt x="448627" y="0"/>
                  </a:cubicBezTo>
                  <a:cubicBezTo>
                    <a:pt x="696398" y="0"/>
                    <a:pt x="897255" y="200857"/>
                    <a:pt x="897255" y="448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191">
              <a:extLst>
                <a:ext uri="{FF2B5EF4-FFF2-40B4-BE49-F238E27FC236}">
                  <a16:creationId xmlns:a16="http://schemas.microsoft.com/office/drawing/2014/main" id="{E67ED5C8-EE5F-6838-275A-67945004ACFD}"/>
                </a:ext>
              </a:extLst>
            </p:cNvPr>
            <p:cNvSpPr/>
            <p:nvPr/>
          </p:nvSpPr>
          <p:spPr bwMode="gray">
            <a:xfrm>
              <a:off x="4300537" y="2531269"/>
              <a:ext cx="1171575" cy="1905000"/>
            </a:xfrm>
            <a:custGeom>
              <a:avLst/>
              <a:gdLst>
                <a:gd name="connsiteX0" fmla="*/ 1000125 w 1171575"/>
                <a:gd name="connsiteY0" fmla="*/ 224314 h 1905000"/>
                <a:gd name="connsiteX1" fmla="*/ 1175290 w 1171575"/>
                <a:gd name="connsiteY1" fmla="*/ 274892 h 1905000"/>
                <a:gd name="connsiteX2" fmla="*/ 1124045 w 1171575"/>
                <a:gd name="connsiteY2" fmla="*/ 17717 h 1905000"/>
                <a:gd name="connsiteX3" fmla="*/ 1124141 w 1171575"/>
                <a:gd name="connsiteY3" fmla="*/ 14954 h 1905000"/>
                <a:gd name="connsiteX4" fmla="*/ 1000125 w 1171575"/>
                <a:gd name="connsiteY4" fmla="*/ 0 h 1905000"/>
                <a:gd name="connsiteX5" fmla="*/ 560737 w 1171575"/>
                <a:gd name="connsiteY5" fmla="*/ 0 h 1905000"/>
                <a:gd name="connsiteX6" fmla="*/ 0 w 1171575"/>
                <a:gd name="connsiteY6" fmla="*/ 560737 h 1905000"/>
                <a:gd name="connsiteX7" fmla="*/ 0 w 1171575"/>
                <a:gd name="connsiteY7" fmla="*/ 1906619 h 1905000"/>
                <a:gd name="connsiteX8" fmla="*/ 224314 w 1171575"/>
                <a:gd name="connsiteY8" fmla="*/ 1906619 h 1905000"/>
                <a:gd name="connsiteX9" fmla="*/ 224314 w 1171575"/>
                <a:gd name="connsiteY9" fmla="*/ 560737 h 1905000"/>
                <a:gd name="connsiteX10" fmla="*/ 560737 w 1171575"/>
                <a:gd name="connsiteY10" fmla="*/ 224314 h 1905000"/>
                <a:gd name="connsiteX11" fmla="*/ 1000125 w 1171575"/>
                <a:gd name="connsiteY11" fmla="*/ 224314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1575" h="1905000">
                  <a:moveTo>
                    <a:pt x="1000125" y="224314"/>
                  </a:moveTo>
                  <a:cubicBezTo>
                    <a:pt x="1064514" y="224314"/>
                    <a:pt x="1175290" y="274892"/>
                    <a:pt x="1175290" y="274892"/>
                  </a:cubicBezTo>
                  <a:cubicBezTo>
                    <a:pt x="1175290" y="274892"/>
                    <a:pt x="1124045" y="108775"/>
                    <a:pt x="1124045" y="17717"/>
                  </a:cubicBezTo>
                  <a:cubicBezTo>
                    <a:pt x="1124045" y="16859"/>
                    <a:pt x="1124141" y="15812"/>
                    <a:pt x="1124141" y="14954"/>
                  </a:cubicBezTo>
                  <a:cubicBezTo>
                    <a:pt x="1084136" y="5906"/>
                    <a:pt x="1042797" y="0"/>
                    <a:pt x="1000125" y="0"/>
                  </a:cubicBezTo>
                  <a:lnTo>
                    <a:pt x="560737" y="0"/>
                  </a:lnTo>
                  <a:cubicBezTo>
                    <a:pt x="251555" y="0"/>
                    <a:pt x="0" y="251555"/>
                    <a:pt x="0" y="560737"/>
                  </a:cubicBezTo>
                  <a:lnTo>
                    <a:pt x="0" y="1906619"/>
                  </a:lnTo>
                  <a:lnTo>
                    <a:pt x="224314" y="1906619"/>
                  </a:lnTo>
                  <a:lnTo>
                    <a:pt x="224314" y="560737"/>
                  </a:lnTo>
                  <a:cubicBezTo>
                    <a:pt x="224314" y="375190"/>
                    <a:pt x="375285" y="224314"/>
                    <a:pt x="560737" y="224314"/>
                  </a:cubicBezTo>
                  <a:lnTo>
                    <a:pt x="1000125" y="2243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192">
              <a:extLst>
                <a:ext uri="{FF2B5EF4-FFF2-40B4-BE49-F238E27FC236}">
                  <a16:creationId xmlns:a16="http://schemas.microsoft.com/office/drawing/2014/main" id="{B7B4F662-E326-8859-BF5E-39508874407F}"/>
                </a:ext>
              </a:extLst>
            </p:cNvPr>
            <p:cNvSpPr/>
            <p:nvPr/>
          </p:nvSpPr>
          <p:spPr bwMode="gray">
            <a:xfrm>
              <a:off x="6725126" y="2529840"/>
              <a:ext cx="1162050" cy="1905000"/>
            </a:xfrm>
            <a:custGeom>
              <a:avLst/>
              <a:gdLst>
                <a:gd name="connsiteX0" fmla="*/ 603599 w 1162050"/>
                <a:gd name="connsiteY0" fmla="*/ 0 h 1905000"/>
                <a:gd name="connsiteX1" fmla="*/ 145637 w 1162050"/>
                <a:gd name="connsiteY1" fmla="*/ 0 h 1905000"/>
                <a:gd name="connsiteX2" fmla="*/ 44958 w 1162050"/>
                <a:gd name="connsiteY2" fmla="*/ 10192 h 1905000"/>
                <a:gd name="connsiteX3" fmla="*/ 45434 w 1162050"/>
                <a:gd name="connsiteY3" fmla="*/ 17717 h 1905000"/>
                <a:gd name="connsiteX4" fmla="*/ 0 w 1162050"/>
                <a:gd name="connsiteY4" fmla="*/ 258890 h 1905000"/>
                <a:gd name="connsiteX5" fmla="*/ 145828 w 1162050"/>
                <a:gd name="connsiteY5" fmla="*/ 224219 h 1905000"/>
                <a:gd name="connsiteX6" fmla="*/ 603599 w 1162050"/>
                <a:gd name="connsiteY6" fmla="*/ 224219 h 1905000"/>
                <a:gd name="connsiteX7" fmla="*/ 940022 w 1162050"/>
                <a:gd name="connsiteY7" fmla="*/ 560642 h 1905000"/>
                <a:gd name="connsiteX8" fmla="*/ 940022 w 1162050"/>
                <a:gd name="connsiteY8" fmla="*/ 1908048 h 1905000"/>
                <a:gd name="connsiteX9" fmla="*/ 1164336 w 1162050"/>
                <a:gd name="connsiteY9" fmla="*/ 1908048 h 1905000"/>
                <a:gd name="connsiteX10" fmla="*/ 1164336 w 1162050"/>
                <a:gd name="connsiteY10" fmla="*/ 560737 h 1905000"/>
                <a:gd name="connsiteX11" fmla="*/ 603599 w 1162050"/>
                <a:gd name="connsiteY11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50" h="1905000">
                  <a:moveTo>
                    <a:pt x="603599" y="0"/>
                  </a:moveTo>
                  <a:lnTo>
                    <a:pt x="145637" y="0"/>
                  </a:lnTo>
                  <a:cubicBezTo>
                    <a:pt x="111061" y="0"/>
                    <a:pt x="77629" y="4286"/>
                    <a:pt x="44958" y="10192"/>
                  </a:cubicBezTo>
                  <a:cubicBezTo>
                    <a:pt x="44958" y="12668"/>
                    <a:pt x="45434" y="15240"/>
                    <a:pt x="45434" y="17717"/>
                  </a:cubicBezTo>
                  <a:cubicBezTo>
                    <a:pt x="45434" y="102775"/>
                    <a:pt x="0" y="258890"/>
                    <a:pt x="0" y="258890"/>
                  </a:cubicBezTo>
                  <a:cubicBezTo>
                    <a:pt x="0" y="258890"/>
                    <a:pt x="93345" y="224219"/>
                    <a:pt x="145828" y="224219"/>
                  </a:cubicBezTo>
                  <a:lnTo>
                    <a:pt x="603599" y="224219"/>
                  </a:lnTo>
                  <a:cubicBezTo>
                    <a:pt x="789146" y="224219"/>
                    <a:pt x="940022" y="375190"/>
                    <a:pt x="940022" y="560642"/>
                  </a:cubicBezTo>
                  <a:lnTo>
                    <a:pt x="940022" y="1908048"/>
                  </a:lnTo>
                  <a:lnTo>
                    <a:pt x="1164336" y="1908048"/>
                  </a:lnTo>
                  <a:lnTo>
                    <a:pt x="1164336" y="560737"/>
                  </a:lnTo>
                  <a:cubicBezTo>
                    <a:pt x="1164336" y="251555"/>
                    <a:pt x="912781" y="0"/>
                    <a:pt x="60359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193">
              <a:extLst>
                <a:ext uri="{FF2B5EF4-FFF2-40B4-BE49-F238E27FC236}">
                  <a16:creationId xmlns:a16="http://schemas.microsoft.com/office/drawing/2014/main" id="{9B5C9DEC-E971-66C6-833E-EC1253346091}"/>
                </a:ext>
              </a:extLst>
            </p:cNvPr>
            <p:cNvSpPr/>
            <p:nvPr/>
          </p:nvSpPr>
          <p:spPr bwMode="gray">
            <a:xfrm>
              <a:off x="6767988" y="4437316"/>
              <a:ext cx="666750" cy="1009650"/>
            </a:xfrm>
            <a:custGeom>
              <a:avLst/>
              <a:gdLst>
                <a:gd name="connsiteX0" fmla="*/ 336423 w 666750"/>
                <a:gd name="connsiteY0" fmla="*/ 365379 h 1009650"/>
                <a:gd name="connsiteX1" fmla="*/ 336423 w 666750"/>
                <a:gd name="connsiteY1" fmla="*/ 669131 h 1009650"/>
                <a:gd name="connsiteX2" fmla="*/ 136875 w 666750"/>
                <a:gd name="connsiteY2" fmla="*/ 669131 h 1009650"/>
                <a:gd name="connsiteX3" fmla="*/ 0 w 666750"/>
                <a:gd name="connsiteY3" fmla="*/ 669131 h 1009650"/>
                <a:gd name="connsiteX4" fmla="*/ 0 w 666750"/>
                <a:gd name="connsiteY4" fmla="*/ 1010888 h 1009650"/>
                <a:gd name="connsiteX5" fmla="*/ 672942 w 666750"/>
                <a:gd name="connsiteY5" fmla="*/ 1010888 h 1009650"/>
                <a:gd name="connsiteX6" fmla="*/ 672942 w 666750"/>
                <a:gd name="connsiteY6" fmla="*/ 0 h 1009650"/>
                <a:gd name="connsiteX7" fmla="*/ 336423 w 666750"/>
                <a:gd name="connsiteY7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6750" h="1009650">
                  <a:moveTo>
                    <a:pt x="336423" y="365379"/>
                  </a:moveTo>
                  <a:lnTo>
                    <a:pt x="336423" y="669131"/>
                  </a:lnTo>
                  <a:lnTo>
                    <a:pt x="136875" y="669131"/>
                  </a:lnTo>
                  <a:lnTo>
                    <a:pt x="0" y="669131"/>
                  </a:lnTo>
                  <a:lnTo>
                    <a:pt x="0" y="1010888"/>
                  </a:lnTo>
                  <a:lnTo>
                    <a:pt x="672942" y="1010888"/>
                  </a:lnTo>
                  <a:lnTo>
                    <a:pt x="672942" y="0"/>
                  </a:lnTo>
                  <a:lnTo>
                    <a:pt x="33642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8" name="Rechteck 47">
            <a:extLst>
              <a:ext uri="{FF2B5EF4-FFF2-40B4-BE49-F238E27FC236}">
                <a16:creationId xmlns:a16="http://schemas.microsoft.com/office/drawing/2014/main" id="{332FE893-D6D1-9C1D-6B99-7682C97C5DE6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b="1" dirty="0">
                <a:solidFill>
                  <a:schemeClr val="bg1"/>
                </a:solidFill>
              </a:rPr>
              <a:t>Company Fit </a:t>
            </a:r>
            <a:r>
              <a:rPr lang="de-DE" sz="5400" dirty="0">
                <a:solidFill>
                  <a:schemeClr val="bg1"/>
                </a:solidFill>
              </a:rPr>
              <a:t>im Überblick</a:t>
            </a:r>
          </a:p>
        </p:txBody>
      </p:sp>
      <p:grpSp>
        <p:nvGrpSpPr>
          <p:cNvPr id="49" name="Group 5">
            <a:extLst>
              <a:ext uri="{FF2B5EF4-FFF2-40B4-BE49-F238E27FC236}">
                <a16:creationId xmlns:a16="http://schemas.microsoft.com/office/drawing/2014/main" id="{D09E070B-393B-3E9E-9607-9A6C5DE7B6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023459" y="2339034"/>
            <a:ext cx="450163" cy="540000"/>
            <a:chOff x="2936" y="414"/>
            <a:chExt cx="461" cy="553"/>
          </a:xfrm>
          <a:solidFill>
            <a:schemeClr val="bg1"/>
          </a:solidFill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96C368EC-60C1-40DC-8D4E-BEC35D975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8" y="484"/>
              <a:ext cx="169" cy="421"/>
            </a:xfrm>
            <a:custGeom>
              <a:avLst/>
              <a:gdLst>
                <a:gd name="T0" fmla="*/ 576 w 576"/>
                <a:gd name="T1" fmla="*/ 1441 h 1441"/>
                <a:gd name="T2" fmla="*/ 560 w 576"/>
                <a:gd name="T3" fmla="*/ 1436 h 1441"/>
                <a:gd name="T4" fmla="*/ 2 w 576"/>
                <a:gd name="T5" fmla="*/ 254 h 1441"/>
                <a:gd name="T6" fmla="*/ 0 w 576"/>
                <a:gd name="T7" fmla="*/ 210 h 1441"/>
                <a:gd name="T8" fmla="*/ 43 w 576"/>
                <a:gd name="T9" fmla="*/ 200 h 1441"/>
                <a:gd name="T10" fmla="*/ 551 w 576"/>
                <a:gd name="T11" fmla="*/ 14 h 1441"/>
                <a:gd name="T12" fmla="*/ 576 w 576"/>
                <a:gd name="T13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" h="1441">
                  <a:moveTo>
                    <a:pt x="576" y="1441"/>
                  </a:moveTo>
                  <a:cubicBezTo>
                    <a:pt x="560" y="1436"/>
                    <a:pt x="560" y="1436"/>
                    <a:pt x="560" y="1436"/>
                  </a:cubicBezTo>
                  <a:cubicBezTo>
                    <a:pt x="95" y="1293"/>
                    <a:pt x="16" y="495"/>
                    <a:pt x="2" y="254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43" y="200"/>
                    <a:pt x="43" y="200"/>
                    <a:pt x="43" y="200"/>
                  </a:cubicBezTo>
                  <a:cubicBezTo>
                    <a:pt x="174" y="169"/>
                    <a:pt x="368" y="112"/>
                    <a:pt x="551" y="14"/>
                  </a:cubicBezTo>
                  <a:cubicBezTo>
                    <a:pt x="576" y="0"/>
                    <a:pt x="576" y="0"/>
                    <a:pt x="57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162FA5B8-8481-A2E9-F8B5-A81A711F9D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6" y="414"/>
              <a:ext cx="461" cy="553"/>
            </a:xfrm>
            <a:custGeom>
              <a:avLst/>
              <a:gdLst>
                <a:gd name="T0" fmla="*/ 1469 w 1577"/>
                <a:gd name="T1" fmla="*/ 469 h 1895"/>
                <a:gd name="T2" fmla="*/ 789 w 1577"/>
                <a:gd name="T3" fmla="*/ 1788 h 1895"/>
                <a:gd name="T4" fmla="*/ 106 w 1577"/>
                <a:gd name="T5" fmla="*/ 363 h 1895"/>
                <a:gd name="T6" fmla="*/ 789 w 1577"/>
                <a:gd name="T7" fmla="*/ 118 h 1895"/>
                <a:gd name="T8" fmla="*/ 1472 w 1577"/>
                <a:gd name="T9" fmla="*/ 363 h 1895"/>
                <a:gd name="T10" fmla="*/ 1472 w 1577"/>
                <a:gd name="T11" fmla="*/ 363 h 1895"/>
                <a:gd name="T12" fmla="*/ 1576 w 1577"/>
                <a:gd name="T13" fmla="*/ 379 h 1895"/>
                <a:gd name="T14" fmla="*/ 1577 w 1577"/>
                <a:gd name="T15" fmla="*/ 318 h 1895"/>
                <a:gd name="T16" fmla="*/ 1531 w 1577"/>
                <a:gd name="T17" fmla="*/ 266 h 1895"/>
                <a:gd name="T18" fmla="*/ 818 w 1577"/>
                <a:gd name="T19" fmla="*/ 12 h 1895"/>
                <a:gd name="T20" fmla="*/ 760 w 1577"/>
                <a:gd name="T21" fmla="*/ 12 h 1895"/>
                <a:gd name="T22" fmla="*/ 46 w 1577"/>
                <a:gd name="T23" fmla="*/ 266 h 1895"/>
                <a:gd name="T24" fmla="*/ 0 w 1577"/>
                <a:gd name="T25" fmla="*/ 318 h 1895"/>
                <a:gd name="T26" fmla="*/ 778 w 1577"/>
                <a:gd name="T27" fmla="*/ 1894 h 1895"/>
                <a:gd name="T28" fmla="*/ 789 w 1577"/>
                <a:gd name="T29" fmla="*/ 1895 h 1895"/>
                <a:gd name="T30" fmla="*/ 799 w 1577"/>
                <a:gd name="T31" fmla="*/ 1894 h 1895"/>
                <a:gd name="T32" fmla="*/ 1573 w 1577"/>
                <a:gd name="T33" fmla="*/ 485 h 1895"/>
                <a:gd name="T34" fmla="*/ 1469 w 1577"/>
                <a:gd name="T35" fmla="*/ 469 h 1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77" h="1895">
                  <a:moveTo>
                    <a:pt x="1469" y="469"/>
                  </a:moveTo>
                  <a:cubicBezTo>
                    <a:pt x="1445" y="1051"/>
                    <a:pt x="1255" y="1687"/>
                    <a:pt x="789" y="1788"/>
                  </a:cubicBezTo>
                  <a:cubicBezTo>
                    <a:pt x="175" y="1655"/>
                    <a:pt x="111" y="660"/>
                    <a:pt x="106" y="363"/>
                  </a:cubicBezTo>
                  <a:cubicBezTo>
                    <a:pt x="222" y="344"/>
                    <a:pt x="531" y="280"/>
                    <a:pt x="789" y="118"/>
                  </a:cubicBezTo>
                  <a:cubicBezTo>
                    <a:pt x="1047" y="280"/>
                    <a:pt x="1356" y="344"/>
                    <a:pt x="1472" y="363"/>
                  </a:cubicBezTo>
                  <a:cubicBezTo>
                    <a:pt x="1472" y="363"/>
                    <a:pt x="1472" y="363"/>
                    <a:pt x="1472" y="363"/>
                  </a:cubicBezTo>
                  <a:cubicBezTo>
                    <a:pt x="1504" y="369"/>
                    <a:pt x="1544" y="376"/>
                    <a:pt x="1576" y="379"/>
                  </a:cubicBezTo>
                  <a:cubicBezTo>
                    <a:pt x="1577" y="359"/>
                    <a:pt x="1577" y="339"/>
                    <a:pt x="1577" y="318"/>
                  </a:cubicBezTo>
                  <a:cubicBezTo>
                    <a:pt x="1577" y="292"/>
                    <a:pt x="1557" y="269"/>
                    <a:pt x="1531" y="266"/>
                  </a:cubicBezTo>
                  <a:cubicBezTo>
                    <a:pt x="1527" y="265"/>
                    <a:pt x="1119" y="213"/>
                    <a:pt x="818" y="12"/>
                  </a:cubicBezTo>
                  <a:cubicBezTo>
                    <a:pt x="800" y="0"/>
                    <a:pt x="777" y="0"/>
                    <a:pt x="760" y="12"/>
                  </a:cubicBezTo>
                  <a:cubicBezTo>
                    <a:pt x="459" y="212"/>
                    <a:pt x="50" y="265"/>
                    <a:pt x="46" y="266"/>
                  </a:cubicBezTo>
                  <a:cubicBezTo>
                    <a:pt x="20" y="269"/>
                    <a:pt x="0" y="292"/>
                    <a:pt x="0" y="318"/>
                  </a:cubicBezTo>
                  <a:cubicBezTo>
                    <a:pt x="0" y="1636"/>
                    <a:pt x="596" y="1857"/>
                    <a:pt x="778" y="1894"/>
                  </a:cubicBezTo>
                  <a:cubicBezTo>
                    <a:pt x="782" y="1894"/>
                    <a:pt x="785" y="1895"/>
                    <a:pt x="789" y="1895"/>
                  </a:cubicBezTo>
                  <a:cubicBezTo>
                    <a:pt x="792" y="1895"/>
                    <a:pt x="796" y="1894"/>
                    <a:pt x="799" y="1894"/>
                  </a:cubicBezTo>
                  <a:cubicBezTo>
                    <a:pt x="970" y="1859"/>
                    <a:pt x="1524" y="1656"/>
                    <a:pt x="1573" y="485"/>
                  </a:cubicBezTo>
                  <a:cubicBezTo>
                    <a:pt x="1548" y="482"/>
                    <a:pt x="1506" y="476"/>
                    <a:pt x="1469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5BED8F85-206B-B1E0-48EE-A168BC8D926C}"/>
              </a:ext>
            </a:extLst>
          </p:cNvPr>
          <p:cNvSpPr txBox="1">
            <a:spLocks/>
          </p:cNvSpPr>
          <p:nvPr/>
        </p:nvSpPr>
        <p:spPr bwMode="gray">
          <a:xfrm>
            <a:off x="9184611" y="2961370"/>
            <a:ext cx="2087612" cy="792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/>
                </a:solidFill>
              </a:rPr>
              <a:t>Verzicht auf ordentliches Kündigungsrecht der HanseMerkur.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CEC95A-06AE-1862-62D3-7FCC200E5B97}"/>
              </a:ext>
            </a:extLst>
          </p:cNvPr>
          <p:cNvSpPr txBox="1"/>
          <p:nvPr/>
        </p:nvSpPr>
        <p:spPr>
          <a:xfrm>
            <a:off x="98284" y="5828819"/>
            <a:ext cx="4994787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de-DE" sz="900" dirty="0">
                <a:solidFill>
                  <a:schemeClr val="bg1"/>
                </a:solidFill>
              </a:rPr>
              <a:t>* Optionale Zusatzleistung für lediglich 5% Beitragszuschlag</a:t>
            </a:r>
          </a:p>
        </p:txBody>
      </p:sp>
    </p:spTree>
    <p:extLst>
      <p:ext uri="{BB962C8B-B14F-4D97-AF65-F5344CB8AC3E}">
        <p14:creationId xmlns:p14="http://schemas.microsoft.com/office/powerpoint/2010/main" val="2830586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939BE1D-E254-BC6A-EFFD-B2C5A147DBDF}"/>
              </a:ext>
            </a:extLst>
          </p:cNvPr>
          <p:cNvGrpSpPr/>
          <p:nvPr/>
        </p:nvGrpSpPr>
        <p:grpSpPr>
          <a:xfrm>
            <a:off x="1076145" y="1563191"/>
            <a:ext cx="3142355" cy="1987112"/>
            <a:chOff x="1076145" y="1275519"/>
            <a:chExt cx="3142355" cy="1987112"/>
          </a:xfrm>
        </p:grpSpPr>
        <p:sp>
          <p:nvSpPr>
            <p:cNvPr id="50" name="TextBox 5">
              <a:extLst>
                <a:ext uri="{FF2B5EF4-FFF2-40B4-BE49-F238E27FC236}">
                  <a16:creationId xmlns:a16="http://schemas.microsoft.com/office/drawing/2014/main" id="{920DDBFB-156C-42FE-AE49-E4DBFD75BD3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76145" y="1986577"/>
              <a:ext cx="3142355" cy="127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de-DE" b="1" dirty="0"/>
                <a:t>Einfache digitale Prozesse </a:t>
              </a:r>
              <a:br>
                <a:rPr lang="de-DE" b="1" dirty="0"/>
              </a:br>
              <a:r>
                <a:rPr lang="de-DE" dirty="0"/>
                <a:t>Von der Verwaltung bis zur Leistungsabrechnung</a:t>
              </a: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5AA41EA5-765D-52F7-5D00-4F9F2DB183E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76145" y="1275519"/>
              <a:ext cx="576000" cy="572686"/>
              <a:chOff x="4868863" y="-127000"/>
              <a:chExt cx="6897687" cy="6858000"/>
            </a:xfrm>
            <a:solidFill>
              <a:schemeClr val="accent6"/>
            </a:solidFill>
          </p:grpSpPr>
          <p:sp>
            <p:nvSpPr>
              <p:cNvPr id="30" name="Rectangle 5">
                <a:extLst>
                  <a:ext uri="{FF2B5EF4-FFF2-40B4-BE49-F238E27FC236}">
                    <a16:creationId xmlns:a16="http://schemas.microsoft.com/office/drawing/2014/main" id="{30ED8E7F-88E5-E838-77DA-5460667BCBC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975475" y="5578475"/>
                <a:ext cx="2686050" cy="1152525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8" name="Freeform 6">
                <a:extLst>
                  <a:ext uri="{FF2B5EF4-FFF2-40B4-BE49-F238E27FC236}">
                    <a16:creationId xmlns:a16="http://schemas.microsoft.com/office/drawing/2014/main" id="{490A0BA1-44CC-F121-D2E9-7488FC4478B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456613" y="1639888"/>
                <a:ext cx="2495550" cy="2339975"/>
              </a:xfrm>
              <a:custGeom>
                <a:avLst/>
                <a:gdLst>
                  <a:gd name="T0" fmla="*/ 677 w 684"/>
                  <a:gd name="T1" fmla="*/ 259 h 641"/>
                  <a:gd name="T2" fmla="*/ 576 w 684"/>
                  <a:gd name="T3" fmla="*/ 186 h 641"/>
                  <a:gd name="T4" fmla="*/ 562 w 684"/>
                  <a:gd name="T5" fmla="*/ 61 h 641"/>
                  <a:gd name="T6" fmla="*/ 513 w 684"/>
                  <a:gd name="T7" fmla="*/ 25 h 641"/>
                  <a:gd name="T8" fmla="*/ 457 w 684"/>
                  <a:gd name="T9" fmla="*/ 0 h 641"/>
                  <a:gd name="T10" fmla="*/ 342 w 684"/>
                  <a:gd name="T11" fmla="*/ 51 h 641"/>
                  <a:gd name="T12" fmla="*/ 228 w 684"/>
                  <a:gd name="T13" fmla="*/ 0 h 641"/>
                  <a:gd name="T14" fmla="*/ 122 w 684"/>
                  <a:gd name="T15" fmla="*/ 61 h 641"/>
                  <a:gd name="T16" fmla="*/ 109 w 684"/>
                  <a:gd name="T17" fmla="*/ 186 h 641"/>
                  <a:gd name="T18" fmla="*/ 8 w 684"/>
                  <a:gd name="T19" fmla="*/ 259 h 641"/>
                  <a:gd name="T20" fmla="*/ 8 w 684"/>
                  <a:gd name="T21" fmla="*/ 381 h 641"/>
                  <a:gd name="T22" fmla="*/ 109 w 684"/>
                  <a:gd name="T23" fmla="*/ 455 h 641"/>
                  <a:gd name="T24" fmla="*/ 122 w 684"/>
                  <a:gd name="T25" fmla="*/ 580 h 641"/>
                  <a:gd name="T26" fmla="*/ 172 w 684"/>
                  <a:gd name="T27" fmla="*/ 615 h 641"/>
                  <a:gd name="T28" fmla="*/ 228 w 684"/>
                  <a:gd name="T29" fmla="*/ 641 h 641"/>
                  <a:gd name="T30" fmla="*/ 342 w 684"/>
                  <a:gd name="T31" fmla="*/ 590 h 641"/>
                  <a:gd name="T32" fmla="*/ 457 w 684"/>
                  <a:gd name="T33" fmla="*/ 641 h 641"/>
                  <a:gd name="T34" fmla="*/ 562 w 684"/>
                  <a:gd name="T35" fmla="*/ 580 h 641"/>
                  <a:gd name="T36" fmla="*/ 576 w 684"/>
                  <a:gd name="T37" fmla="*/ 455 h 641"/>
                  <a:gd name="T38" fmla="*/ 677 w 684"/>
                  <a:gd name="T39" fmla="*/ 381 h 641"/>
                  <a:gd name="T40" fmla="*/ 677 w 684"/>
                  <a:gd name="T41" fmla="*/ 259 h 641"/>
                  <a:gd name="T42" fmla="*/ 479 w 684"/>
                  <a:gd name="T43" fmla="*/ 399 h 641"/>
                  <a:gd name="T44" fmla="*/ 264 w 684"/>
                  <a:gd name="T45" fmla="*/ 457 h 641"/>
                  <a:gd name="T46" fmla="*/ 206 w 684"/>
                  <a:gd name="T47" fmla="*/ 241 h 641"/>
                  <a:gd name="T48" fmla="*/ 421 w 684"/>
                  <a:gd name="T49" fmla="*/ 184 h 641"/>
                  <a:gd name="T50" fmla="*/ 479 w 684"/>
                  <a:gd name="T51" fmla="*/ 399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84" h="641">
                    <a:moveTo>
                      <a:pt x="677" y="259"/>
                    </a:moveTo>
                    <a:cubicBezTo>
                      <a:pt x="636" y="250"/>
                      <a:pt x="598" y="225"/>
                      <a:pt x="576" y="186"/>
                    </a:cubicBezTo>
                    <a:cubicBezTo>
                      <a:pt x="553" y="146"/>
                      <a:pt x="550" y="101"/>
                      <a:pt x="562" y="61"/>
                    </a:cubicBezTo>
                    <a:cubicBezTo>
                      <a:pt x="547" y="48"/>
                      <a:pt x="531" y="36"/>
                      <a:pt x="513" y="25"/>
                    </a:cubicBezTo>
                    <a:cubicBezTo>
                      <a:pt x="494" y="15"/>
                      <a:pt x="476" y="7"/>
                      <a:pt x="457" y="0"/>
                    </a:cubicBezTo>
                    <a:cubicBezTo>
                      <a:pt x="428" y="31"/>
                      <a:pt x="388" y="51"/>
                      <a:pt x="342" y="51"/>
                    </a:cubicBezTo>
                    <a:cubicBezTo>
                      <a:pt x="297" y="51"/>
                      <a:pt x="256" y="31"/>
                      <a:pt x="228" y="0"/>
                    </a:cubicBezTo>
                    <a:cubicBezTo>
                      <a:pt x="190" y="14"/>
                      <a:pt x="154" y="34"/>
                      <a:pt x="122" y="61"/>
                    </a:cubicBezTo>
                    <a:cubicBezTo>
                      <a:pt x="135" y="101"/>
                      <a:pt x="132" y="146"/>
                      <a:pt x="109" y="186"/>
                    </a:cubicBezTo>
                    <a:cubicBezTo>
                      <a:pt x="86" y="225"/>
                      <a:pt x="49" y="250"/>
                      <a:pt x="8" y="259"/>
                    </a:cubicBezTo>
                    <a:cubicBezTo>
                      <a:pt x="0" y="300"/>
                      <a:pt x="0" y="341"/>
                      <a:pt x="8" y="381"/>
                    </a:cubicBezTo>
                    <a:cubicBezTo>
                      <a:pt x="49" y="390"/>
                      <a:pt x="86" y="416"/>
                      <a:pt x="109" y="455"/>
                    </a:cubicBezTo>
                    <a:cubicBezTo>
                      <a:pt x="132" y="494"/>
                      <a:pt x="135" y="539"/>
                      <a:pt x="122" y="580"/>
                    </a:cubicBezTo>
                    <a:cubicBezTo>
                      <a:pt x="138" y="593"/>
                      <a:pt x="154" y="605"/>
                      <a:pt x="172" y="615"/>
                    </a:cubicBezTo>
                    <a:cubicBezTo>
                      <a:pt x="190" y="626"/>
                      <a:pt x="209" y="634"/>
                      <a:pt x="228" y="641"/>
                    </a:cubicBezTo>
                    <a:cubicBezTo>
                      <a:pt x="256" y="610"/>
                      <a:pt x="297" y="590"/>
                      <a:pt x="342" y="590"/>
                    </a:cubicBezTo>
                    <a:cubicBezTo>
                      <a:pt x="388" y="590"/>
                      <a:pt x="428" y="610"/>
                      <a:pt x="457" y="641"/>
                    </a:cubicBezTo>
                    <a:cubicBezTo>
                      <a:pt x="495" y="627"/>
                      <a:pt x="531" y="606"/>
                      <a:pt x="562" y="580"/>
                    </a:cubicBezTo>
                    <a:cubicBezTo>
                      <a:pt x="550" y="539"/>
                      <a:pt x="553" y="494"/>
                      <a:pt x="576" y="455"/>
                    </a:cubicBezTo>
                    <a:cubicBezTo>
                      <a:pt x="598" y="416"/>
                      <a:pt x="636" y="390"/>
                      <a:pt x="677" y="381"/>
                    </a:cubicBezTo>
                    <a:cubicBezTo>
                      <a:pt x="684" y="341"/>
                      <a:pt x="684" y="299"/>
                      <a:pt x="677" y="259"/>
                    </a:cubicBezTo>
                    <a:close/>
                    <a:moveTo>
                      <a:pt x="479" y="399"/>
                    </a:moveTo>
                    <a:cubicBezTo>
                      <a:pt x="435" y="474"/>
                      <a:pt x="339" y="500"/>
                      <a:pt x="264" y="457"/>
                    </a:cubicBezTo>
                    <a:cubicBezTo>
                      <a:pt x="188" y="413"/>
                      <a:pt x="162" y="317"/>
                      <a:pt x="206" y="241"/>
                    </a:cubicBezTo>
                    <a:cubicBezTo>
                      <a:pt x="249" y="166"/>
                      <a:pt x="346" y="140"/>
                      <a:pt x="421" y="184"/>
                    </a:cubicBezTo>
                    <a:cubicBezTo>
                      <a:pt x="497" y="227"/>
                      <a:pt x="522" y="324"/>
                      <a:pt x="479" y="399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40CE220C-43E5-EBAC-C4B4-ED9F7468501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683500" y="-127000"/>
                <a:ext cx="1728787" cy="1839913"/>
              </a:xfrm>
              <a:custGeom>
                <a:avLst/>
                <a:gdLst>
                  <a:gd name="T0" fmla="*/ 437 w 474"/>
                  <a:gd name="T1" fmla="*/ 252 h 504"/>
                  <a:gd name="T2" fmla="*/ 474 w 474"/>
                  <a:gd name="T3" fmla="*/ 167 h 504"/>
                  <a:gd name="T4" fmla="*/ 429 w 474"/>
                  <a:gd name="T5" fmla="*/ 89 h 504"/>
                  <a:gd name="T6" fmla="*/ 337 w 474"/>
                  <a:gd name="T7" fmla="*/ 79 h 504"/>
                  <a:gd name="T8" fmla="*/ 282 w 474"/>
                  <a:gd name="T9" fmla="*/ 4 h 504"/>
                  <a:gd name="T10" fmla="*/ 237 w 474"/>
                  <a:gd name="T11" fmla="*/ 0 h 504"/>
                  <a:gd name="T12" fmla="*/ 192 w 474"/>
                  <a:gd name="T13" fmla="*/ 4 h 504"/>
                  <a:gd name="T14" fmla="*/ 137 w 474"/>
                  <a:gd name="T15" fmla="*/ 79 h 504"/>
                  <a:gd name="T16" fmla="*/ 45 w 474"/>
                  <a:gd name="T17" fmla="*/ 89 h 504"/>
                  <a:gd name="T18" fmla="*/ 0 w 474"/>
                  <a:gd name="T19" fmla="*/ 167 h 504"/>
                  <a:gd name="T20" fmla="*/ 37 w 474"/>
                  <a:gd name="T21" fmla="*/ 252 h 504"/>
                  <a:gd name="T22" fmla="*/ 0 w 474"/>
                  <a:gd name="T23" fmla="*/ 337 h 504"/>
                  <a:gd name="T24" fmla="*/ 45 w 474"/>
                  <a:gd name="T25" fmla="*/ 415 h 504"/>
                  <a:gd name="T26" fmla="*/ 137 w 474"/>
                  <a:gd name="T27" fmla="*/ 425 h 504"/>
                  <a:gd name="T28" fmla="*/ 192 w 474"/>
                  <a:gd name="T29" fmla="*/ 500 h 504"/>
                  <a:gd name="T30" fmla="*/ 237 w 474"/>
                  <a:gd name="T31" fmla="*/ 504 h 504"/>
                  <a:gd name="T32" fmla="*/ 282 w 474"/>
                  <a:gd name="T33" fmla="*/ 500 h 504"/>
                  <a:gd name="T34" fmla="*/ 337 w 474"/>
                  <a:gd name="T35" fmla="*/ 425 h 504"/>
                  <a:gd name="T36" fmla="*/ 429 w 474"/>
                  <a:gd name="T37" fmla="*/ 415 h 504"/>
                  <a:gd name="T38" fmla="*/ 474 w 474"/>
                  <a:gd name="T39" fmla="*/ 337 h 504"/>
                  <a:gd name="T40" fmla="*/ 437 w 474"/>
                  <a:gd name="T41" fmla="*/ 252 h 504"/>
                  <a:gd name="T42" fmla="*/ 237 w 474"/>
                  <a:gd name="T43" fmla="*/ 357 h 504"/>
                  <a:gd name="T44" fmla="*/ 132 w 474"/>
                  <a:gd name="T45" fmla="*/ 252 h 504"/>
                  <a:gd name="T46" fmla="*/ 237 w 474"/>
                  <a:gd name="T47" fmla="*/ 147 h 504"/>
                  <a:gd name="T48" fmla="*/ 342 w 474"/>
                  <a:gd name="T49" fmla="*/ 252 h 504"/>
                  <a:gd name="T50" fmla="*/ 237 w 474"/>
                  <a:gd name="T51" fmla="*/ 357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74" h="504">
                    <a:moveTo>
                      <a:pt x="437" y="252"/>
                    </a:moveTo>
                    <a:cubicBezTo>
                      <a:pt x="437" y="218"/>
                      <a:pt x="451" y="188"/>
                      <a:pt x="474" y="167"/>
                    </a:cubicBezTo>
                    <a:cubicBezTo>
                      <a:pt x="464" y="138"/>
                      <a:pt x="449" y="112"/>
                      <a:pt x="429" y="89"/>
                    </a:cubicBezTo>
                    <a:cubicBezTo>
                      <a:pt x="400" y="98"/>
                      <a:pt x="366" y="96"/>
                      <a:pt x="337" y="79"/>
                    </a:cubicBezTo>
                    <a:cubicBezTo>
                      <a:pt x="308" y="62"/>
                      <a:pt x="289" y="34"/>
                      <a:pt x="282" y="4"/>
                    </a:cubicBezTo>
                    <a:cubicBezTo>
                      <a:pt x="268" y="1"/>
                      <a:pt x="253" y="0"/>
                      <a:pt x="237" y="0"/>
                    </a:cubicBezTo>
                    <a:cubicBezTo>
                      <a:pt x="222" y="0"/>
                      <a:pt x="207" y="1"/>
                      <a:pt x="192" y="4"/>
                    </a:cubicBezTo>
                    <a:cubicBezTo>
                      <a:pt x="185" y="34"/>
                      <a:pt x="166" y="62"/>
                      <a:pt x="137" y="79"/>
                    </a:cubicBezTo>
                    <a:cubicBezTo>
                      <a:pt x="108" y="96"/>
                      <a:pt x="75" y="98"/>
                      <a:pt x="45" y="89"/>
                    </a:cubicBezTo>
                    <a:cubicBezTo>
                      <a:pt x="26" y="112"/>
                      <a:pt x="10" y="138"/>
                      <a:pt x="0" y="167"/>
                    </a:cubicBezTo>
                    <a:cubicBezTo>
                      <a:pt x="23" y="188"/>
                      <a:pt x="37" y="218"/>
                      <a:pt x="37" y="252"/>
                    </a:cubicBezTo>
                    <a:cubicBezTo>
                      <a:pt x="37" y="286"/>
                      <a:pt x="23" y="316"/>
                      <a:pt x="0" y="337"/>
                    </a:cubicBezTo>
                    <a:cubicBezTo>
                      <a:pt x="10" y="366"/>
                      <a:pt x="26" y="392"/>
                      <a:pt x="45" y="415"/>
                    </a:cubicBezTo>
                    <a:cubicBezTo>
                      <a:pt x="75" y="406"/>
                      <a:pt x="108" y="408"/>
                      <a:pt x="137" y="425"/>
                    </a:cubicBezTo>
                    <a:cubicBezTo>
                      <a:pt x="166" y="442"/>
                      <a:pt x="185" y="469"/>
                      <a:pt x="192" y="500"/>
                    </a:cubicBezTo>
                    <a:cubicBezTo>
                      <a:pt x="207" y="503"/>
                      <a:pt x="222" y="504"/>
                      <a:pt x="237" y="504"/>
                    </a:cubicBezTo>
                    <a:cubicBezTo>
                      <a:pt x="253" y="504"/>
                      <a:pt x="268" y="503"/>
                      <a:pt x="282" y="500"/>
                    </a:cubicBezTo>
                    <a:cubicBezTo>
                      <a:pt x="289" y="469"/>
                      <a:pt x="308" y="442"/>
                      <a:pt x="337" y="425"/>
                    </a:cubicBezTo>
                    <a:cubicBezTo>
                      <a:pt x="366" y="408"/>
                      <a:pt x="400" y="406"/>
                      <a:pt x="429" y="415"/>
                    </a:cubicBezTo>
                    <a:cubicBezTo>
                      <a:pt x="449" y="392"/>
                      <a:pt x="464" y="366"/>
                      <a:pt x="474" y="337"/>
                    </a:cubicBezTo>
                    <a:cubicBezTo>
                      <a:pt x="451" y="316"/>
                      <a:pt x="437" y="286"/>
                      <a:pt x="437" y="252"/>
                    </a:cubicBezTo>
                    <a:close/>
                    <a:moveTo>
                      <a:pt x="237" y="357"/>
                    </a:moveTo>
                    <a:cubicBezTo>
                      <a:pt x="179" y="357"/>
                      <a:pt x="132" y="310"/>
                      <a:pt x="132" y="252"/>
                    </a:cubicBezTo>
                    <a:cubicBezTo>
                      <a:pt x="132" y="194"/>
                      <a:pt x="179" y="147"/>
                      <a:pt x="237" y="147"/>
                    </a:cubicBezTo>
                    <a:cubicBezTo>
                      <a:pt x="295" y="147"/>
                      <a:pt x="342" y="194"/>
                      <a:pt x="342" y="252"/>
                    </a:cubicBezTo>
                    <a:cubicBezTo>
                      <a:pt x="342" y="310"/>
                      <a:pt x="295" y="357"/>
                      <a:pt x="237" y="357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7" name="Freeform 8">
                <a:extLst>
                  <a:ext uri="{FF2B5EF4-FFF2-40B4-BE49-F238E27FC236}">
                    <a16:creationId xmlns:a16="http://schemas.microsoft.com/office/drawing/2014/main" id="{C47746AC-CFF1-8DB6-9F2A-E335A7313C0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868863" y="595313"/>
                <a:ext cx="6897687" cy="4595813"/>
              </a:xfrm>
              <a:custGeom>
                <a:avLst/>
                <a:gdLst>
                  <a:gd name="T0" fmla="*/ 1837 w 1890"/>
                  <a:gd name="T1" fmla="*/ 0 h 1259"/>
                  <a:gd name="T2" fmla="*/ 1520 w 1890"/>
                  <a:gd name="T3" fmla="*/ 0 h 1259"/>
                  <a:gd name="T4" fmla="*/ 1364 w 1890"/>
                  <a:gd name="T5" fmla="*/ 0 h 1259"/>
                  <a:gd name="T6" fmla="*/ 1323 w 1890"/>
                  <a:gd name="T7" fmla="*/ 0 h 1259"/>
                  <a:gd name="T8" fmla="*/ 1309 w 1890"/>
                  <a:gd name="T9" fmla="*/ 54 h 1259"/>
                  <a:gd name="T10" fmla="*/ 1322 w 1890"/>
                  <a:gd name="T11" fmla="*/ 105 h 1259"/>
                  <a:gd name="T12" fmla="*/ 1364 w 1890"/>
                  <a:gd name="T13" fmla="*/ 105 h 1259"/>
                  <a:gd name="T14" fmla="*/ 1522 w 1890"/>
                  <a:gd name="T15" fmla="*/ 105 h 1259"/>
                  <a:gd name="T16" fmla="*/ 1784 w 1890"/>
                  <a:gd name="T17" fmla="*/ 105 h 1259"/>
                  <a:gd name="T18" fmla="*/ 1784 w 1890"/>
                  <a:gd name="T19" fmla="*/ 1154 h 1259"/>
                  <a:gd name="T20" fmla="*/ 105 w 1890"/>
                  <a:gd name="T21" fmla="*/ 1154 h 1259"/>
                  <a:gd name="T22" fmla="*/ 105 w 1890"/>
                  <a:gd name="T23" fmla="*/ 105 h 1259"/>
                  <a:gd name="T24" fmla="*/ 494 w 1890"/>
                  <a:gd name="T25" fmla="*/ 105 h 1259"/>
                  <a:gd name="T26" fmla="*/ 547 w 1890"/>
                  <a:gd name="T27" fmla="*/ 105 h 1259"/>
                  <a:gd name="T28" fmla="*/ 695 w 1890"/>
                  <a:gd name="T29" fmla="*/ 105 h 1259"/>
                  <a:gd name="T30" fmla="*/ 707 w 1890"/>
                  <a:gd name="T31" fmla="*/ 54 h 1259"/>
                  <a:gd name="T32" fmla="*/ 693 w 1890"/>
                  <a:gd name="T33" fmla="*/ 0 h 1259"/>
                  <a:gd name="T34" fmla="*/ 547 w 1890"/>
                  <a:gd name="T35" fmla="*/ 0 h 1259"/>
                  <a:gd name="T36" fmla="*/ 496 w 1890"/>
                  <a:gd name="T37" fmla="*/ 0 h 1259"/>
                  <a:gd name="T38" fmla="*/ 52 w 1890"/>
                  <a:gd name="T39" fmla="*/ 0 h 1259"/>
                  <a:gd name="T40" fmla="*/ 0 w 1890"/>
                  <a:gd name="T41" fmla="*/ 52 h 1259"/>
                  <a:gd name="T42" fmla="*/ 0 w 1890"/>
                  <a:gd name="T43" fmla="*/ 1207 h 1259"/>
                  <a:gd name="T44" fmla="*/ 52 w 1890"/>
                  <a:gd name="T45" fmla="*/ 1259 h 1259"/>
                  <a:gd name="T46" fmla="*/ 1837 w 1890"/>
                  <a:gd name="T47" fmla="*/ 1259 h 1259"/>
                  <a:gd name="T48" fmla="*/ 1890 w 1890"/>
                  <a:gd name="T49" fmla="*/ 1207 h 1259"/>
                  <a:gd name="T50" fmla="*/ 1890 w 1890"/>
                  <a:gd name="T51" fmla="*/ 52 h 1259"/>
                  <a:gd name="T52" fmla="*/ 1837 w 1890"/>
                  <a:gd name="T53" fmla="*/ 0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90" h="1259">
                    <a:moveTo>
                      <a:pt x="1837" y="0"/>
                    </a:moveTo>
                    <a:cubicBezTo>
                      <a:pt x="1520" y="0"/>
                      <a:pt x="1520" y="0"/>
                      <a:pt x="1520" y="0"/>
                    </a:cubicBezTo>
                    <a:cubicBezTo>
                      <a:pt x="1364" y="0"/>
                      <a:pt x="1364" y="0"/>
                      <a:pt x="1364" y="0"/>
                    </a:cubicBezTo>
                    <a:cubicBezTo>
                      <a:pt x="1323" y="0"/>
                      <a:pt x="1323" y="0"/>
                      <a:pt x="1323" y="0"/>
                    </a:cubicBezTo>
                    <a:cubicBezTo>
                      <a:pt x="1314" y="16"/>
                      <a:pt x="1309" y="34"/>
                      <a:pt x="1309" y="54"/>
                    </a:cubicBezTo>
                    <a:cubicBezTo>
                      <a:pt x="1309" y="72"/>
                      <a:pt x="1314" y="89"/>
                      <a:pt x="1322" y="105"/>
                    </a:cubicBezTo>
                    <a:cubicBezTo>
                      <a:pt x="1364" y="105"/>
                      <a:pt x="1364" y="105"/>
                      <a:pt x="1364" y="105"/>
                    </a:cubicBezTo>
                    <a:cubicBezTo>
                      <a:pt x="1522" y="105"/>
                      <a:pt x="1522" y="105"/>
                      <a:pt x="1522" y="105"/>
                    </a:cubicBezTo>
                    <a:cubicBezTo>
                      <a:pt x="1784" y="105"/>
                      <a:pt x="1784" y="105"/>
                      <a:pt x="1784" y="105"/>
                    </a:cubicBezTo>
                    <a:cubicBezTo>
                      <a:pt x="1784" y="1154"/>
                      <a:pt x="1784" y="1154"/>
                      <a:pt x="1784" y="1154"/>
                    </a:cubicBezTo>
                    <a:cubicBezTo>
                      <a:pt x="105" y="1154"/>
                      <a:pt x="105" y="1154"/>
                      <a:pt x="105" y="1154"/>
                    </a:cubicBezTo>
                    <a:cubicBezTo>
                      <a:pt x="105" y="105"/>
                      <a:pt x="105" y="105"/>
                      <a:pt x="105" y="105"/>
                    </a:cubicBezTo>
                    <a:cubicBezTo>
                      <a:pt x="494" y="105"/>
                      <a:pt x="494" y="105"/>
                      <a:pt x="494" y="105"/>
                    </a:cubicBezTo>
                    <a:cubicBezTo>
                      <a:pt x="547" y="105"/>
                      <a:pt x="547" y="105"/>
                      <a:pt x="547" y="105"/>
                    </a:cubicBezTo>
                    <a:cubicBezTo>
                      <a:pt x="695" y="105"/>
                      <a:pt x="695" y="105"/>
                      <a:pt x="695" y="105"/>
                    </a:cubicBezTo>
                    <a:cubicBezTo>
                      <a:pt x="703" y="89"/>
                      <a:pt x="707" y="72"/>
                      <a:pt x="707" y="54"/>
                    </a:cubicBezTo>
                    <a:cubicBezTo>
                      <a:pt x="707" y="34"/>
                      <a:pt x="702" y="16"/>
                      <a:pt x="693" y="0"/>
                    </a:cubicBezTo>
                    <a:cubicBezTo>
                      <a:pt x="547" y="0"/>
                      <a:pt x="547" y="0"/>
                      <a:pt x="547" y="0"/>
                    </a:cubicBezTo>
                    <a:cubicBezTo>
                      <a:pt x="496" y="0"/>
                      <a:pt x="496" y="0"/>
                      <a:pt x="496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3" y="0"/>
                      <a:pt x="0" y="23"/>
                      <a:pt x="0" y="52"/>
                    </a:cubicBezTo>
                    <a:cubicBezTo>
                      <a:pt x="0" y="1207"/>
                      <a:pt x="0" y="1207"/>
                      <a:pt x="0" y="1207"/>
                    </a:cubicBezTo>
                    <a:cubicBezTo>
                      <a:pt x="0" y="1236"/>
                      <a:pt x="23" y="1259"/>
                      <a:pt x="52" y="1259"/>
                    </a:cubicBezTo>
                    <a:cubicBezTo>
                      <a:pt x="1837" y="1259"/>
                      <a:pt x="1837" y="1259"/>
                      <a:pt x="1837" y="1259"/>
                    </a:cubicBezTo>
                    <a:cubicBezTo>
                      <a:pt x="1866" y="1259"/>
                      <a:pt x="1890" y="1236"/>
                      <a:pt x="1890" y="1207"/>
                    </a:cubicBezTo>
                    <a:cubicBezTo>
                      <a:pt x="1890" y="52"/>
                      <a:pt x="1890" y="52"/>
                      <a:pt x="1890" y="52"/>
                    </a:cubicBezTo>
                    <a:cubicBezTo>
                      <a:pt x="1890" y="23"/>
                      <a:pt x="1866" y="0"/>
                      <a:pt x="1837" y="0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F8819ED4-EF4E-2254-12D6-42FE509C14F6}"/>
              </a:ext>
            </a:extLst>
          </p:cNvPr>
          <p:cNvSpPr/>
          <p:nvPr/>
        </p:nvSpPr>
        <p:spPr>
          <a:xfrm>
            <a:off x="0" y="1484312"/>
            <a:ext cx="6043023" cy="2413001"/>
          </a:xfrm>
          <a:custGeom>
            <a:avLst/>
            <a:gdLst>
              <a:gd name="connsiteX0" fmla="*/ 0 w 6043023"/>
              <a:gd name="connsiteY0" fmla="*/ 0 h 2376000"/>
              <a:gd name="connsiteX1" fmla="*/ 6043023 w 6043023"/>
              <a:gd name="connsiteY1" fmla="*/ 0 h 2376000"/>
              <a:gd name="connsiteX2" fmla="*/ 6043023 w 6043023"/>
              <a:gd name="connsiteY2" fmla="*/ 1212287 h 2376000"/>
              <a:gd name="connsiteX3" fmla="*/ 5970853 w 6043023"/>
              <a:gd name="connsiteY3" fmla="*/ 1215932 h 2376000"/>
              <a:gd name="connsiteX4" fmla="*/ 4896868 w 6043023"/>
              <a:gd name="connsiteY4" fmla="*/ 2186933 h 2376000"/>
              <a:gd name="connsiteX5" fmla="*/ 4877808 w 6043023"/>
              <a:gd name="connsiteY5" fmla="*/ 2376000 h 2376000"/>
              <a:gd name="connsiteX6" fmla="*/ 0 w 6043023"/>
              <a:gd name="connsiteY6" fmla="*/ 2376000 h 23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3023" h="2376000">
                <a:moveTo>
                  <a:pt x="0" y="0"/>
                </a:moveTo>
                <a:lnTo>
                  <a:pt x="6043023" y="0"/>
                </a:lnTo>
                <a:lnTo>
                  <a:pt x="6043023" y="1212287"/>
                </a:lnTo>
                <a:lnTo>
                  <a:pt x="5970853" y="1215932"/>
                </a:lnTo>
                <a:cubicBezTo>
                  <a:pt x="5435938" y="1270255"/>
                  <a:pt x="5002849" y="1669017"/>
                  <a:pt x="4896868" y="2186933"/>
                </a:cubicBezTo>
                <a:lnTo>
                  <a:pt x="4877808" y="2376000"/>
                </a:lnTo>
                <a:lnTo>
                  <a:pt x="0" y="2376000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noAutofit/>
          </a:bodyPr>
          <a:lstStyle/>
          <a:p>
            <a:pPr marL="180000" indent="-18000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40D8C01-C54C-6386-B2C8-7422E4F9C1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40D8C01-C54C-6386-B2C8-7422E4F9C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2E436DB7-5101-49B5-9F9F-677101654253}"/>
              </a:ext>
            </a:extLst>
          </p:cNvPr>
          <p:cNvSpPr/>
          <p:nvPr/>
        </p:nvSpPr>
        <p:spPr bwMode="gray">
          <a:xfrm flipH="1">
            <a:off x="4039300" y="1774832"/>
            <a:ext cx="2071747" cy="2040685"/>
          </a:xfrm>
          <a:custGeom>
            <a:avLst/>
            <a:gdLst>
              <a:gd name="connsiteX0" fmla="*/ 71424 w 2071747"/>
              <a:gd name="connsiteY0" fmla="*/ 0 h 2040685"/>
              <a:gd name="connsiteX1" fmla="*/ 0 w 2071747"/>
              <a:gd name="connsiteY1" fmla="*/ 194759 h 2040685"/>
              <a:gd name="connsiteX2" fmla="*/ 73283 w 2071747"/>
              <a:gd name="connsiteY2" fmla="*/ 394586 h 2040685"/>
              <a:gd name="connsiteX3" fmla="*/ 185070 w 2071747"/>
              <a:gd name="connsiteY3" fmla="*/ 400231 h 2040685"/>
              <a:gd name="connsiteX4" fmla="*/ 1669369 w 2071747"/>
              <a:gd name="connsiteY4" fmla="*/ 1884530 h 2040685"/>
              <a:gd name="connsiteX5" fmla="*/ 1676656 w 2071747"/>
              <a:gd name="connsiteY5" fmla="*/ 2028846 h 2040685"/>
              <a:gd name="connsiteX6" fmla="*/ 1858060 w 2071747"/>
              <a:gd name="connsiteY6" fmla="*/ 1962320 h 2040685"/>
              <a:gd name="connsiteX7" fmla="*/ 2071747 w 2071747"/>
              <a:gd name="connsiteY7" fmla="*/ 2040685 h 2040685"/>
              <a:gd name="connsiteX8" fmla="*/ 2061825 w 2071747"/>
              <a:gd name="connsiteY8" fmla="*/ 1844196 h 2040685"/>
              <a:gd name="connsiteX9" fmla="*/ 225404 w 2071747"/>
              <a:gd name="connsiteY9" fmla="*/ 7775 h 2040685"/>
              <a:gd name="connsiteX10" fmla="*/ 71424 w 2071747"/>
              <a:gd name="connsiteY10" fmla="*/ 0 h 204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71747" h="2040685">
                <a:moveTo>
                  <a:pt x="71424" y="0"/>
                </a:moveTo>
                <a:lnTo>
                  <a:pt x="0" y="194759"/>
                </a:lnTo>
                <a:lnTo>
                  <a:pt x="73283" y="394586"/>
                </a:lnTo>
                <a:lnTo>
                  <a:pt x="185070" y="400231"/>
                </a:lnTo>
                <a:cubicBezTo>
                  <a:pt x="967699" y="479712"/>
                  <a:pt x="1589889" y="1101902"/>
                  <a:pt x="1669369" y="1884530"/>
                </a:cubicBezTo>
                <a:lnTo>
                  <a:pt x="1676656" y="2028846"/>
                </a:lnTo>
                <a:lnTo>
                  <a:pt x="1858060" y="1962320"/>
                </a:lnTo>
                <a:lnTo>
                  <a:pt x="2071747" y="2040685"/>
                </a:lnTo>
                <a:lnTo>
                  <a:pt x="2061825" y="1844196"/>
                </a:lnTo>
                <a:cubicBezTo>
                  <a:pt x="1963490" y="875903"/>
                  <a:pt x="1193697" y="106111"/>
                  <a:pt x="225404" y="7775"/>
                </a:cubicBezTo>
                <a:lnTo>
                  <a:pt x="71424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5A69F8B-9BE8-1D66-E9FD-760967E67995}"/>
              </a:ext>
            </a:extLst>
          </p:cNvPr>
          <p:cNvGrpSpPr>
            <a:grpSpLocks noChangeAspect="1"/>
          </p:cNvGrpSpPr>
          <p:nvPr/>
        </p:nvGrpSpPr>
        <p:grpSpPr>
          <a:xfrm>
            <a:off x="4512001" y="2239282"/>
            <a:ext cx="3167999" cy="3168000"/>
            <a:chOff x="4512001" y="1951610"/>
            <a:chExt cx="3167999" cy="3168000"/>
          </a:xfrm>
        </p:grpSpPr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0DBD3656-6FED-5ACC-7F1A-BFC5C96858F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512001" y="1951610"/>
              <a:ext cx="3167999" cy="316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de-DE" sz="2000" dirty="0">
                <a:solidFill>
                  <a:schemeClr val="bg1"/>
                </a:solidFill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BE0ED97-18A0-F2A1-40A1-C6B9B023B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4974324" y="2756175"/>
              <a:ext cx="2243352" cy="1347791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C8AADD32-6A4A-E842-C7E7-752E3BB09C75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Ihre</a:t>
            </a:r>
            <a:r>
              <a:rPr lang="de-DE" sz="5400" b="1" dirty="0">
                <a:solidFill>
                  <a:schemeClr val="accent1"/>
                </a:solidFill>
              </a:rPr>
              <a:t> Vorteile</a:t>
            </a:r>
            <a:endParaRPr lang="de-DE" sz="5400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0295BE-EEB4-3AEC-F9F4-D5010386995A}"/>
              </a:ext>
            </a:extLst>
          </p:cNvPr>
          <p:cNvSpPr txBox="1">
            <a:spLocks/>
          </p:cNvSpPr>
          <p:nvPr/>
        </p:nvSpPr>
        <p:spPr bwMode="gray">
          <a:xfrm>
            <a:off x="1076145" y="1698128"/>
            <a:ext cx="2890670" cy="1515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dirty="0"/>
              <a:t>Unser Verwaltungsprogramm </a:t>
            </a:r>
            <a:r>
              <a:rPr lang="de-DE" b="1" dirty="0"/>
              <a:t>Groupie</a:t>
            </a:r>
            <a:r>
              <a:rPr lang="de-DE" dirty="0"/>
              <a:t> übernimmt vollständig die Vertragsverwaltung. Sie erfassen lediglich einmalig Ihre Mitarbeitenden. Ihre Mitarbeitenden reichen ihre Rechnung ganz einfach über die </a:t>
            </a:r>
            <a:r>
              <a:rPr lang="de-DE" b="1" dirty="0" err="1"/>
              <a:t>ServiceApp</a:t>
            </a:r>
            <a:r>
              <a:rPr lang="de-DE" dirty="0"/>
              <a:t> ein.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E9A2C38D-6B60-4E39-1814-0B0078F58B04}"/>
              </a:ext>
            </a:extLst>
          </p:cNvPr>
          <p:cNvSpPr txBox="1">
            <a:spLocks/>
          </p:cNvSpPr>
          <p:nvPr/>
        </p:nvSpPr>
        <p:spPr bwMode="gray">
          <a:xfrm>
            <a:off x="8440670" y="2407811"/>
            <a:ext cx="2700000" cy="1276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b="1" dirty="0"/>
              <a:t>Ausgezeichnete Produkte </a:t>
            </a:r>
            <a:r>
              <a:rPr lang="de-DE" dirty="0"/>
              <a:t>mit einem erstklassigen Preis-/ Leistungsverhältnis</a:t>
            </a:r>
          </a:p>
        </p:txBody>
      </p:sp>
      <p:grpSp>
        <p:nvGrpSpPr>
          <p:cNvPr id="18" name="Grafik 5">
            <a:extLst>
              <a:ext uri="{FF2B5EF4-FFF2-40B4-BE49-F238E27FC236}">
                <a16:creationId xmlns:a16="http://schemas.microsoft.com/office/drawing/2014/main" id="{E9D0ACAD-B145-B5DF-DD35-66A48E13229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40670" y="1617986"/>
            <a:ext cx="379794" cy="684000"/>
            <a:chOff x="4192027" y="0"/>
            <a:chExt cx="3807946" cy="6858000"/>
          </a:xfrm>
          <a:solidFill>
            <a:schemeClr val="accent2"/>
          </a:solidFill>
        </p:grpSpPr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0B475D88-47BE-65D0-D817-7633E9143CEA}"/>
                </a:ext>
              </a:extLst>
            </p:cNvPr>
            <p:cNvSpPr/>
            <p:nvPr/>
          </p:nvSpPr>
          <p:spPr bwMode="gray">
            <a:xfrm>
              <a:off x="4551841" y="3862108"/>
              <a:ext cx="3087024" cy="2994598"/>
            </a:xfrm>
            <a:custGeom>
              <a:avLst/>
              <a:gdLst>
                <a:gd name="connsiteX0" fmla="*/ 1544067 w 3087024"/>
                <a:gd name="connsiteY0" fmla="*/ 275799 h 2994598"/>
                <a:gd name="connsiteX1" fmla="*/ 870375 w 3087024"/>
                <a:gd name="connsiteY1" fmla="*/ 0 h 2994598"/>
                <a:gd name="connsiteX2" fmla="*/ 0 w 3087024"/>
                <a:gd name="connsiteY2" fmla="*/ 2345677 h 2994598"/>
                <a:gd name="connsiteX3" fmla="*/ 812793 w 3087024"/>
                <a:gd name="connsiteY3" fmla="*/ 1695460 h 2994598"/>
                <a:gd name="connsiteX4" fmla="*/ 1625401 w 3087024"/>
                <a:gd name="connsiteY4" fmla="*/ 2995800 h 2994598"/>
                <a:gd name="connsiteX5" fmla="*/ 2275433 w 3087024"/>
                <a:gd name="connsiteY5" fmla="*/ 1695460 h 2994598"/>
                <a:gd name="connsiteX6" fmla="*/ 3088226 w 3087024"/>
                <a:gd name="connsiteY6" fmla="*/ 2345677 h 2994598"/>
                <a:gd name="connsiteX7" fmla="*/ 2217944 w 3087024"/>
                <a:gd name="connsiteY7" fmla="*/ 0 h 2994598"/>
                <a:gd name="connsiteX8" fmla="*/ 1544067 w 3087024"/>
                <a:gd name="connsiteY8" fmla="*/ 275799 h 29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7024" h="2994598">
                  <a:moveTo>
                    <a:pt x="1544067" y="275799"/>
                  </a:moveTo>
                  <a:cubicBezTo>
                    <a:pt x="1240633" y="275799"/>
                    <a:pt x="1022415" y="139194"/>
                    <a:pt x="870375" y="0"/>
                  </a:cubicBezTo>
                  <a:lnTo>
                    <a:pt x="0" y="2345677"/>
                  </a:lnTo>
                  <a:lnTo>
                    <a:pt x="812793" y="1695460"/>
                  </a:lnTo>
                  <a:lnTo>
                    <a:pt x="1625401" y="2995800"/>
                  </a:lnTo>
                  <a:lnTo>
                    <a:pt x="2275433" y="1695460"/>
                  </a:lnTo>
                  <a:lnTo>
                    <a:pt x="3088226" y="2345677"/>
                  </a:lnTo>
                  <a:lnTo>
                    <a:pt x="2217944" y="0"/>
                  </a:lnTo>
                  <a:cubicBezTo>
                    <a:pt x="2065718" y="139101"/>
                    <a:pt x="1847501" y="275799"/>
                    <a:pt x="1544067" y="275799"/>
                  </a:cubicBezTo>
                  <a:close/>
                </a:path>
              </a:pathLst>
            </a:custGeom>
            <a:grpFill/>
            <a:ln w="9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043468DB-CDFB-35E4-DAFB-43A5EEB7E369}"/>
                </a:ext>
              </a:extLst>
            </p:cNvPr>
            <p:cNvSpPr/>
            <p:nvPr/>
          </p:nvSpPr>
          <p:spPr bwMode="gray">
            <a:xfrm>
              <a:off x="4192027" y="0"/>
              <a:ext cx="3798703" cy="3743248"/>
            </a:xfrm>
            <a:custGeom>
              <a:avLst/>
              <a:gdLst>
                <a:gd name="connsiteX0" fmla="*/ 3459593 w 3798703"/>
                <a:gd name="connsiteY0" fmla="*/ 1309120 h 3743247"/>
                <a:gd name="connsiteX1" fmla="*/ 3401457 w 3798703"/>
                <a:gd name="connsiteY1" fmla="*/ 1261521 h 3743247"/>
                <a:gd name="connsiteX2" fmla="*/ 3408112 w 3798703"/>
                <a:gd name="connsiteY2" fmla="*/ 1180186 h 3743247"/>
                <a:gd name="connsiteX3" fmla="*/ 3249139 w 3798703"/>
                <a:gd name="connsiteY3" fmla="*/ 549564 h 3743247"/>
                <a:gd name="connsiteX4" fmla="*/ 2790060 w 3798703"/>
                <a:gd name="connsiteY4" fmla="*/ 382089 h 3743247"/>
                <a:gd name="connsiteX5" fmla="*/ 2609367 w 3798703"/>
                <a:gd name="connsiteY5" fmla="*/ 392995 h 3743247"/>
                <a:gd name="connsiteX6" fmla="*/ 2526461 w 3798703"/>
                <a:gd name="connsiteY6" fmla="*/ 399650 h 3743247"/>
                <a:gd name="connsiteX7" fmla="*/ 2478215 w 3798703"/>
                <a:gd name="connsiteY7" fmla="*/ 342438 h 3743247"/>
                <a:gd name="connsiteX8" fmla="*/ 1903326 w 3798703"/>
                <a:gd name="connsiteY8" fmla="*/ 0 h 3743247"/>
                <a:gd name="connsiteX9" fmla="*/ 1328345 w 3798703"/>
                <a:gd name="connsiteY9" fmla="*/ 342253 h 3743247"/>
                <a:gd name="connsiteX10" fmla="*/ 1280098 w 3798703"/>
                <a:gd name="connsiteY10" fmla="*/ 399465 h 3743247"/>
                <a:gd name="connsiteX11" fmla="*/ 1197377 w 3798703"/>
                <a:gd name="connsiteY11" fmla="*/ 392810 h 3743247"/>
                <a:gd name="connsiteX12" fmla="*/ 1016500 w 3798703"/>
                <a:gd name="connsiteY12" fmla="*/ 381904 h 3743247"/>
                <a:gd name="connsiteX13" fmla="*/ 557605 w 3798703"/>
                <a:gd name="connsiteY13" fmla="*/ 549195 h 3743247"/>
                <a:gd name="connsiteX14" fmla="*/ 398540 w 3798703"/>
                <a:gd name="connsiteY14" fmla="*/ 1180094 h 3743247"/>
                <a:gd name="connsiteX15" fmla="*/ 405195 w 3798703"/>
                <a:gd name="connsiteY15" fmla="*/ 1261428 h 3743247"/>
                <a:gd name="connsiteX16" fmla="*/ 347244 w 3798703"/>
                <a:gd name="connsiteY16" fmla="*/ 1309028 h 3743247"/>
                <a:gd name="connsiteX17" fmla="*/ 0 w 3798703"/>
                <a:gd name="connsiteY17" fmla="*/ 1875691 h 3743247"/>
                <a:gd name="connsiteX18" fmla="*/ 347244 w 3798703"/>
                <a:gd name="connsiteY18" fmla="*/ 2442261 h 3743247"/>
                <a:gd name="connsiteX19" fmla="*/ 405195 w 3798703"/>
                <a:gd name="connsiteY19" fmla="*/ 2489861 h 3743247"/>
                <a:gd name="connsiteX20" fmla="*/ 398540 w 3798703"/>
                <a:gd name="connsiteY20" fmla="*/ 2571196 h 3743247"/>
                <a:gd name="connsiteX21" fmla="*/ 557513 w 3798703"/>
                <a:gd name="connsiteY21" fmla="*/ 3201817 h 3743247"/>
                <a:gd name="connsiteX22" fmla="*/ 1016592 w 3798703"/>
                <a:gd name="connsiteY22" fmla="*/ 3369293 h 3743247"/>
                <a:gd name="connsiteX23" fmla="*/ 1197470 w 3798703"/>
                <a:gd name="connsiteY23" fmla="*/ 3358387 h 3743247"/>
                <a:gd name="connsiteX24" fmla="*/ 1280191 w 3798703"/>
                <a:gd name="connsiteY24" fmla="*/ 3351732 h 3743247"/>
                <a:gd name="connsiteX25" fmla="*/ 1328437 w 3798703"/>
                <a:gd name="connsiteY25" fmla="*/ 3408759 h 3743247"/>
                <a:gd name="connsiteX26" fmla="*/ 1903419 w 3798703"/>
                <a:gd name="connsiteY26" fmla="*/ 3751012 h 3743247"/>
                <a:gd name="connsiteX27" fmla="*/ 2478400 w 3798703"/>
                <a:gd name="connsiteY27" fmla="*/ 3408759 h 3743247"/>
                <a:gd name="connsiteX28" fmla="*/ 2526646 w 3798703"/>
                <a:gd name="connsiteY28" fmla="*/ 3351732 h 3743247"/>
                <a:gd name="connsiteX29" fmla="*/ 2609552 w 3798703"/>
                <a:gd name="connsiteY29" fmla="*/ 3358387 h 3743247"/>
                <a:gd name="connsiteX30" fmla="*/ 2790245 w 3798703"/>
                <a:gd name="connsiteY30" fmla="*/ 3369293 h 3743247"/>
                <a:gd name="connsiteX31" fmla="*/ 3249139 w 3798703"/>
                <a:gd name="connsiteY31" fmla="*/ 3202002 h 3743247"/>
                <a:gd name="connsiteX32" fmla="*/ 3408297 w 3798703"/>
                <a:gd name="connsiteY32" fmla="*/ 2571196 h 3743247"/>
                <a:gd name="connsiteX33" fmla="*/ 3401642 w 3798703"/>
                <a:gd name="connsiteY33" fmla="*/ 2489861 h 3743247"/>
                <a:gd name="connsiteX34" fmla="*/ 3459778 w 3798703"/>
                <a:gd name="connsiteY34" fmla="*/ 2442261 h 3743247"/>
                <a:gd name="connsiteX35" fmla="*/ 3806837 w 3798703"/>
                <a:gd name="connsiteY35" fmla="*/ 1875691 h 3743247"/>
                <a:gd name="connsiteX36" fmla="*/ 3459593 w 3798703"/>
                <a:gd name="connsiteY36" fmla="*/ 1309120 h 3743247"/>
                <a:gd name="connsiteX37" fmla="*/ 3030830 w 3798703"/>
                <a:gd name="connsiteY37" fmla="*/ 2335972 h 3743247"/>
                <a:gd name="connsiteX38" fmla="*/ 2973063 w 3798703"/>
                <a:gd name="connsiteY38" fmla="*/ 2929993 h 3743247"/>
                <a:gd name="connsiteX39" fmla="*/ 2790060 w 3798703"/>
                <a:gd name="connsiteY39" fmla="*/ 2984894 h 3743247"/>
                <a:gd name="connsiteX40" fmla="*/ 2501506 w 3798703"/>
                <a:gd name="connsiteY40" fmla="*/ 2966593 h 3743247"/>
                <a:gd name="connsiteX41" fmla="*/ 2370354 w 3798703"/>
                <a:gd name="connsiteY41" fmla="*/ 2987020 h 3743247"/>
                <a:gd name="connsiteX42" fmla="*/ 1903419 w 3798703"/>
                <a:gd name="connsiteY42" fmla="*/ 3366890 h 3743247"/>
                <a:gd name="connsiteX43" fmla="*/ 1436483 w 3798703"/>
                <a:gd name="connsiteY43" fmla="*/ 2987020 h 3743247"/>
                <a:gd name="connsiteX44" fmla="*/ 1305331 w 3798703"/>
                <a:gd name="connsiteY44" fmla="*/ 2966593 h 3743247"/>
                <a:gd name="connsiteX45" fmla="*/ 1016777 w 3798703"/>
                <a:gd name="connsiteY45" fmla="*/ 2984894 h 3743247"/>
                <a:gd name="connsiteX46" fmla="*/ 833589 w 3798703"/>
                <a:gd name="connsiteY46" fmla="*/ 2929993 h 3743247"/>
                <a:gd name="connsiteX47" fmla="*/ 776008 w 3798703"/>
                <a:gd name="connsiteY47" fmla="*/ 2335972 h 3743247"/>
                <a:gd name="connsiteX48" fmla="*/ 390314 w 3798703"/>
                <a:gd name="connsiteY48" fmla="*/ 1875691 h 3743247"/>
                <a:gd name="connsiteX49" fmla="*/ 776008 w 3798703"/>
                <a:gd name="connsiteY49" fmla="*/ 1415225 h 3743247"/>
                <a:gd name="connsiteX50" fmla="*/ 833589 w 3798703"/>
                <a:gd name="connsiteY50" fmla="*/ 821204 h 3743247"/>
                <a:gd name="connsiteX51" fmla="*/ 1016777 w 3798703"/>
                <a:gd name="connsiteY51" fmla="*/ 766303 h 3743247"/>
                <a:gd name="connsiteX52" fmla="*/ 1305331 w 3798703"/>
                <a:gd name="connsiteY52" fmla="*/ 784603 h 3743247"/>
                <a:gd name="connsiteX53" fmla="*/ 1436483 w 3798703"/>
                <a:gd name="connsiteY53" fmla="*/ 764177 h 3743247"/>
                <a:gd name="connsiteX54" fmla="*/ 1903419 w 3798703"/>
                <a:gd name="connsiteY54" fmla="*/ 384307 h 3743247"/>
                <a:gd name="connsiteX55" fmla="*/ 2370354 w 3798703"/>
                <a:gd name="connsiteY55" fmla="*/ 764177 h 3743247"/>
                <a:gd name="connsiteX56" fmla="*/ 2501506 w 3798703"/>
                <a:gd name="connsiteY56" fmla="*/ 784603 h 3743247"/>
                <a:gd name="connsiteX57" fmla="*/ 2790060 w 3798703"/>
                <a:gd name="connsiteY57" fmla="*/ 766303 h 3743247"/>
                <a:gd name="connsiteX58" fmla="*/ 2973248 w 3798703"/>
                <a:gd name="connsiteY58" fmla="*/ 821204 h 3743247"/>
                <a:gd name="connsiteX59" fmla="*/ 3030830 w 3798703"/>
                <a:gd name="connsiteY59" fmla="*/ 1415225 h 3743247"/>
                <a:gd name="connsiteX60" fmla="*/ 3416522 w 3798703"/>
                <a:gd name="connsiteY60" fmla="*/ 1875691 h 3743247"/>
                <a:gd name="connsiteX61" fmla="*/ 3030830 w 3798703"/>
                <a:gd name="connsiteY61" fmla="*/ 2335972 h 3743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798703" h="3743247">
                  <a:moveTo>
                    <a:pt x="3459593" y="1309120"/>
                  </a:moveTo>
                  <a:cubicBezTo>
                    <a:pt x="3442032" y="1295164"/>
                    <a:pt x="3419757" y="1277141"/>
                    <a:pt x="3401457" y="1261521"/>
                  </a:cubicBezTo>
                  <a:cubicBezTo>
                    <a:pt x="3402751" y="1235827"/>
                    <a:pt x="3405801" y="1204124"/>
                    <a:pt x="3408112" y="1180186"/>
                  </a:cubicBezTo>
                  <a:cubicBezTo>
                    <a:pt x="3424471" y="1007535"/>
                    <a:pt x="3449426" y="746801"/>
                    <a:pt x="3249139" y="549564"/>
                  </a:cubicBezTo>
                  <a:cubicBezTo>
                    <a:pt x="3136287" y="438468"/>
                    <a:pt x="2981936" y="382089"/>
                    <a:pt x="2790060" y="382089"/>
                  </a:cubicBezTo>
                  <a:cubicBezTo>
                    <a:pt x="2725639" y="382089"/>
                    <a:pt x="2663714" y="387819"/>
                    <a:pt x="2609367" y="392995"/>
                  </a:cubicBezTo>
                  <a:cubicBezTo>
                    <a:pt x="2579237" y="395675"/>
                    <a:pt x="2550862" y="398356"/>
                    <a:pt x="2526461" y="399650"/>
                  </a:cubicBezTo>
                  <a:cubicBezTo>
                    <a:pt x="2510657" y="381719"/>
                    <a:pt x="2492172" y="359629"/>
                    <a:pt x="2478215" y="342438"/>
                  </a:cubicBezTo>
                  <a:cubicBezTo>
                    <a:pt x="2371556" y="214243"/>
                    <a:pt x="2194006" y="0"/>
                    <a:pt x="1903326" y="0"/>
                  </a:cubicBezTo>
                  <a:cubicBezTo>
                    <a:pt x="1612647" y="0"/>
                    <a:pt x="1434912" y="214428"/>
                    <a:pt x="1328345" y="342253"/>
                  </a:cubicBezTo>
                  <a:cubicBezTo>
                    <a:pt x="1314388" y="359259"/>
                    <a:pt x="1295903" y="381534"/>
                    <a:pt x="1280098" y="399465"/>
                  </a:cubicBezTo>
                  <a:cubicBezTo>
                    <a:pt x="1255698" y="398171"/>
                    <a:pt x="1227323" y="395490"/>
                    <a:pt x="1197377" y="392810"/>
                  </a:cubicBezTo>
                  <a:cubicBezTo>
                    <a:pt x="1142846" y="387819"/>
                    <a:pt x="1080921" y="381904"/>
                    <a:pt x="1016500" y="381904"/>
                  </a:cubicBezTo>
                  <a:cubicBezTo>
                    <a:pt x="824439" y="381904"/>
                    <a:pt x="670365" y="438284"/>
                    <a:pt x="557605" y="549195"/>
                  </a:cubicBezTo>
                  <a:cubicBezTo>
                    <a:pt x="356949" y="746709"/>
                    <a:pt x="382089" y="1007442"/>
                    <a:pt x="398540" y="1180094"/>
                  </a:cubicBezTo>
                  <a:cubicBezTo>
                    <a:pt x="400851" y="1204124"/>
                    <a:pt x="403901" y="1235734"/>
                    <a:pt x="405195" y="1261428"/>
                  </a:cubicBezTo>
                  <a:cubicBezTo>
                    <a:pt x="386895" y="1277048"/>
                    <a:pt x="364620" y="1295164"/>
                    <a:pt x="347244" y="1309028"/>
                  </a:cubicBezTo>
                  <a:cubicBezTo>
                    <a:pt x="217293" y="1413931"/>
                    <a:pt x="0" y="1589448"/>
                    <a:pt x="0" y="1875691"/>
                  </a:cubicBezTo>
                  <a:cubicBezTo>
                    <a:pt x="0" y="2161749"/>
                    <a:pt x="217478" y="2337266"/>
                    <a:pt x="347244" y="2442261"/>
                  </a:cubicBezTo>
                  <a:cubicBezTo>
                    <a:pt x="364620" y="2456218"/>
                    <a:pt x="386895" y="2474241"/>
                    <a:pt x="405195" y="2489861"/>
                  </a:cubicBezTo>
                  <a:cubicBezTo>
                    <a:pt x="403901" y="2515370"/>
                    <a:pt x="400851" y="2547257"/>
                    <a:pt x="398540" y="2571196"/>
                  </a:cubicBezTo>
                  <a:cubicBezTo>
                    <a:pt x="382181" y="2743662"/>
                    <a:pt x="356949" y="3004580"/>
                    <a:pt x="557513" y="3201817"/>
                  </a:cubicBezTo>
                  <a:cubicBezTo>
                    <a:pt x="670550" y="3312913"/>
                    <a:pt x="824531" y="3369570"/>
                    <a:pt x="1016592" y="3369293"/>
                  </a:cubicBezTo>
                  <a:cubicBezTo>
                    <a:pt x="1081013" y="3369293"/>
                    <a:pt x="1142754" y="3363563"/>
                    <a:pt x="1197470" y="3358387"/>
                  </a:cubicBezTo>
                  <a:cubicBezTo>
                    <a:pt x="1227231" y="3355706"/>
                    <a:pt x="1255790" y="3353026"/>
                    <a:pt x="1280191" y="3351732"/>
                  </a:cubicBezTo>
                  <a:cubicBezTo>
                    <a:pt x="1295996" y="3369663"/>
                    <a:pt x="1314481" y="3391753"/>
                    <a:pt x="1328437" y="3408759"/>
                  </a:cubicBezTo>
                  <a:cubicBezTo>
                    <a:pt x="1435004" y="3536861"/>
                    <a:pt x="1612739" y="3751012"/>
                    <a:pt x="1903419" y="3751012"/>
                  </a:cubicBezTo>
                  <a:cubicBezTo>
                    <a:pt x="2194098" y="3751012"/>
                    <a:pt x="2371648" y="3536584"/>
                    <a:pt x="2478400" y="3408759"/>
                  </a:cubicBezTo>
                  <a:cubicBezTo>
                    <a:pt x="2492356" y="3391753"/>
                    <a:pt x="2510841" y="3369478"/>
                    <a:pt x="2526646" y="3351732"/>
                  </a:cubicBezTo>
                  <a:cubicBezTo>
                    <a:pt x="2551047" y="3352841"/>
                    <a:pt x="2579237" y="3355706"/>
                    <a:pt x="2609552" y="3358387"/>
                  </a:cubicBezTo>
                  <a:cubicBezTo>
                    <a:pt x="2663899" y="3363378"/>
                    <a:pt x="2725824" y="3369293"/>
                    <a:pt x="2790245" y="3369293"/>
                  </a:cubicBezTo>
                  <a:cubicBezTo>
                    <a:pt x="2982121" y="3369293"/>
                    <a:pt x="3136564" y="3312913"/>
                    <a:pt x="3249139" y="3202002"/>
                  </a:cubicBezTo>
                  <a:cubicBezTo>
                    <a:pt x="3449611" y="3004580"/>
                    <a:pt x="3424656" y="2743662"/>
                    <a:pt x="3408297" y="2571196"/>
                  </a:cubicBezTo>
                  <a:cubicBezTo>
                    <a:pt x="3405986" y="2547165"/>
                    <a:pt x="3402936" y="2515370"/>
                    <a:pt x="3401642" y="2489861"/>
                  </a:cubicBezTo>
                  <a:cubicBezTo>
                    <a:pt x="3419942" y="2474241"/>
                    <a:pt x="3442217" y="2456125"/>
                    <a:pt x="3459778" y="2442261"/>
                  </a:cubicBezTo>
                  <a:cubicBezTo>
                    <a:pt x="3589544" y="2337450"/>
                    <a:pt x="3806837" y="2161934"/>
                    <a:pt x="3806837" y="1875691"/>
                  </a:cubicBezTo>
                  <a:cubicBezTo>
                    <a:pt x="3806652" y="1589448"/>
                    <a:pt x="3589359" y="1414116"/>
                    <a:pt x="3459593" y="1309120"/>
                  </a:cubicBezTo>
                  <a:close/>
                  <a:moveTo>
                    <a:pt x="3030830" y="2335972"/>
                  </a:moveTo>
                  <a:cubicBezTo>
                    <a:pt x="2961880" y="2500675"/>
                    <a:pt x="3098855" y="2806142"/>
                    <a:pt x="2973063" y="2929993"/>
                  </a:cubicBezTo>
                  <a:cubicBezTo>
                    <a:pt x="2929438" y="2973063"/>
                    <a:pt x="2864093" y="2984894"/>
                    <a:pt x="2790060" y="2984894"/>
                  </a:cubicBezTo>
                  <a:cubicBezTo>
                    <a:pt x="2698374" y="2984894"/>
                    <a:pt x="2593378" y="2966593"/>
                    <a:pt x="2501506" y="2966593"/>
                  </a:cubicBezTo>
                  <a:cubicBezTo>
                    <a:pt x="2452705" y="2966593"/>
                    <a:pt x="2408156" y="2971585"/>
                    <a:pt x="2370354" y="2987020"/>
                  </a:cubicBezTo>
                  <a:cubicBezTo>
                    <a:pt x="2209348" y="3052919"/>
                    <a:pt x="2088455" y="3366890"/>
                    <a:pt x="1903419" y="3366890"/>
                  </a:cubicBezTo>
                  <a:cubicBezTo>
                    <a:pt x="1718382" y="3366890"/>
                    <a:pt x="1597581" y="3053012"/>
                    <a:pt x="1436483" y="2987020"/>
                  </a:cubicBezTo>
                  <a:cubicBezTo>
                    <a:pt x="1398958" y="2971585"/>
                    <a:pt x="1353762" y="2966593"/>
                    <a:pt x="1305331" y="2966593"/>
                  </a:cubicBezTo>
                  <a:cubicBezTo>
                    <a:pt x="1213644" y="2966593"/>
                    <a:pt x="1108833" y="2984894"/>
                    <a:pt x="1016777" y="2984894"/>
                  </a:cubicBezTo>
                  <a:cubicBezTo>
                    <a:pt x="942836" y="2984894"/>
                    <a:pt x="877491" y="2973063"/>
                    <a:pt x="833589" y="2929993"/>
                  </a:cubicBezTo>
                  <a:cubicBezTo>
                    <a:pt x="707982" y="2806142"/>
                    <a:pt x="845235" y="2500582"/>
                    <a:pt x="776008" y="2335972"/>
                  </a:cubicBezTo>
                  <a:cubicBezTo>
                    <a:pt x="709091" y="2177184"/>
                    <a:pt x="390314" y="2058324"/>
                    <a:pt x="390314" y="1875691"/>
                  </a:cubicBezTo>
                  <a:cubicBezTo>
                    <a:pt x="390314" y="1693057"/>
                    <a:pt x="709369" y="1574198"/>
                    <a:pt x="776008" y="1415225"/>
                  </a:cubicBezTo>
                  <a:cubicBezTo>
                    <a:pt x="844957" y="1250522"/>
                    <a:pt x="707982" y="945055"/>
                    <a:pt x="833589" y="821204"/>
                  </a:cubicBezTo>
                  <a:cubicBezTo>
                    <a:pt x="877214" y="778134"/>
                    <a:pt x="942836" y="766303"/>
                    <a:pt x="1016777" y="766303"/>
                  </a:cubicBezTo>
                  <a:cubicBezTo>
                    <a:pt x="1108648" y="766303"/>
                    <a:pt x="1213459" y="784603"/>
                    <a:pt x="1305331" y="784603"/>
                  </a:cubicBezTo>
                  <a:cubicBezTo>
                    <a:pt x="1354316" y="784603"/>
                    <a:pt x="1398866" y="779612"/>
                    <a:pt x="1436483" y="764177"/>
                  </a:cubicBezTo>
                  <a:cubicBezTo>
                    <a:pt x="1597489" y="698278"/>
                    <a:pt x="1718382" y="384307"/>
                    <a:pt x="1903419" y="384307"/>
                  </a:cubicBezTo>
                  <a:cubicBezTo>
                    <a:pt x="2088455" y="384307"/>
                    <a:pt x="2209256" y="698185"/>
                    <a:pt x="2370354" y="764177"/>
                  </a:cubicBezTo>
                  <a:cubicBezTo>
                    <a:pt x="2408064" y="779612"/>
                    <a:pt x="2453075" y="784603"/>
                    <a:pt x="2501506" y="784603"/>
                  </a:cubicBezTo>
                  <a:cubicBezTo>
                    <a:pt x="2593193" y="784603"/>
                    <a:pt x="2698189" y="766303"/>
                    <a:pt x="2790060" y="766303"/>
                  </a:cubicBezTo>
                  <a:cubicBezTo>
                    <a:pt x="2864001" y="766303"/>
                    <a:pt x="2929346" y="778134"/>
                    <a:pt x="2973248" y="821204"/>
                  </a:cubicBezTo>
                  <a:cubicBezTo>
                    <a:pt x="3098855" y="945055"/>
                    <a:pt x="2961602" y="1250615"/>
                    <a:pt x="3030830" y="1415225"/>
                  </a:cubicBezTo>
                  <a:cubicBezTo>
                    <a:pt x="3097746" y="1574013"/>
                    <a:pt x="3416522" y="1692872"/>
                    <a:pt x="3416522" y="1875691"/>
                  </a:cubicBezTo>
                  <a:cubicBezTo>
                    <a:pt x="3416708" y="2058232"/>
                    <a:pt x="3097653" y="2177184"/>
                    <a:pt x="3030830" y="2335972"/>
                  </a:cubicBezTo>
                  <a:close/>
                </a:path>
              </a:pathLst>
            </a:custGeom>
            <a:grpFill/>
            <a:ln w="9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EDE42461-D67F-2059-43ED-C1B383F621C1}"/>
              </a:ext>
            </a:extLst>
          </p:cNvPr>
          <p:cNvSpPr/>
          <p:nvPr/>
        </p:nvSpPr>
        <p:spPr bwMode="gray">
          <a:xfrm flipH="1">
            <a:off x="6115509" y="1772994"/>
            <a:ext cx="2034908" cy="2071280"/>
          </a:xfrm>
          <a:custGeom>
            <a:avLst/>
            <a:gdLst>
              <a:gd name="connsiteX0" fmla="*/ 2034440 w 2034908"/>
              <a:gd name="connsiteY0" fmla="*/ 0 h 2071280"/>
              <a:gd name="connsiteX1" fmla="*/ 1844060 w 2034908"/>
              <a:gd name="connsiteY1" fmla="*/ 9613 h 2071280"/>
              <a:gd name="connsiteX2" fmla="*/ 7639 w 2034908"/>
              <a:gd name="connsiteY2" fmla="*/ 1846034 h 2071280"/>
              <a:gd name="connsiteX3" fmla="*/ 0 w 2034908"/>
              <a:gd name="connsiteY3" fmla="*/ 1997301 h 2071280"/>
              <a:gd name="connsiteX4" fmla="*/ 201725 w 2034908"/>
              <a:gd name="connsiteY4" fmla="*/ 2071280 h 2071280"/>
              <a:gd name="connsiteX5" fmla="*/ 394324 w 2034908"/>
              <a:gd name="connsiteY5" fmla="*/ 2000648 h 2071280"/>
              <a:gd name="connsiteX6" fmla="*/ 400095 w 2034908"/>
              <a:gd name="connsiteY6" fmla="*/ 1886368 h 2071280"/>
              <a:gd name="connsiteX7" fmla="*/ 1884394 w 2034908"/>
              <a:gd name="connsiteY7" fmla="*/ 402069 h 2071280"/>
              <a:gd name="connsiteX8" fmla="*/ 2034908 w 2034908"/>
              <a:gd name="connsiteY8" fmla="*/ 394469 h 2071280"/>
              <a:gd name="connsiteX9" fmla="*/ 1962342 w 2034908"/>
              <a:gd name="connsiteY9" fmla="*/ 196597 h 2071280"/>
              <a:gd name="connsiteX10" fmla="*/ 2034440 w 2034908"/>
              <a:gd name="connsiteY10" fmla="*/ 0 h 207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34908" h="2071280">
                <a:moveTo>
                  <a:pt x="2034440" y="0"/>
                </a:moveTo>
                <a:lnTo>
                  <a:pt x="1844060" y="9613"/>
                </a:lnTo>
                <a:cubicBezTo>
                  <a:pt x="875767" y="107949"/>
                  <a:pt x="105974" y="877741"/>
                  <a:pt x="7639" y="1846034"/>
                </a:cubicBezTo>
                <a:lnTo>
                  <a:pt x="0" y="1997301"/>
                </a:lnTo>
                <a:lnTo>
                  <a:pt x="201725" y="2071280"/>
                </a:lnTo>
                <a:lnTo>
                  <a:pt x="394324" y="2000648"/>
                </a:lnTo>
                <a:lnTo>
                  <a:pt x="400095" y="1886368"/>
                </a:lnTo>
                <a:cubicBezTo>
                  <a:pt x="479575" y="1103740"/>
                  <a:pt x="1101765" y="481550"/>
                  <a:pt x="1884394" y="402069"/>
                </a:cubicBezTo>
                <a:lnTo>
                  <a:pt x="2034908" y="394469"/>
                </a:lnTo>
                <a:lnTo>
                  <a:pt x="1962342" y="196597"/>
                </a:lnTo>
                <a:lnTo>
                  <a:pt x="20344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BEDD45E-C3AF-A013-194F-DF1A9A305F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03265" y="268113"/>
            <a:ext cx="1227848" cy="153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5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42" grpId="0" animBg="1"/>
      <p:bldP spid="6" grpId="0"/>
      <p:bldP spid="6" grpId="1"/>
      <p:bldP spid="9" grpId="0"/>
      <p:bldP spid="3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939BE1D-E254-BC6A-EFFD-B2C5A147DBDF}"/>
              </a:ext>
            </a:extLst>
          </p:cNvPr>
          <p:cNvGrpSpPr/>
          <p:nvPr/>
        </p:nvGrpSpPr>
        <p:grpSpPr>
          <a:xfrm>
            <a:off x="1076145" y="1563191"/>
            <a:ext cx="3142355" cy="1987112"/>
            <a:chOff x="1076145" y="1275519"/>
            <a:chExt cx="3142355" cy="1987112"/>
          </a:xfrm>
        </p:grpSpPr>
        <p:sp>
          <p:nvSpPr>
            <p:cNvPr id="50" name="TextBox 5">
              <a:extLst>
                <a:ext uri="{FF2B5EF4-FFF2-40B4-BE49-F238E27FC236}">
                  <a16:creationId xmlns:a16="http://schemas.microsoft.com/office/drawing/2014/main" id="{920DDBFB-156C-42FE-AE49-E4DBFD75BD3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76145" y="1986577"/>
              <a:ext cx="3142355" cy="127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de-DE" b="1" dirty="0"/>
                <a:t>Einfache digitale Prozesse </a:t>
              </a:r>
              <a:br>
                <a:rPr lang="de-DE" b="1" dirty="0"/>
              </a:br>
              <a:r>
                <a:rPr lang="de-DE" dirty="0"/>
                <a:t>Von der Verwaltung bis zur Leistungsabrechnung</a:t>
              </a: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5AA41EA5-765D-52F7-5D00-4F9F2DB183E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76145" y="1275519"/>
              <a:ext cx="576000" cy="572686"/>
              <a:chOff x="4868863" y="-127000"/>
              <a:chExt cx="6897687" cy="6858000"/>
            </a:xfrm>
            <a:solidFill>
              <a:schemeClr val="accent6"/>
            </a:solidFill>
          </p:grpSpPr>
          <p:sp>
            <p:nvSpPr>
              <p:cNvPr id="30" name="Rectangle 5">
                <a:extLst>
                  <a:ext uri="{FF2B5EF4-FFF2-40B4-BE49-F238E27FC236}">
                    <a16:creationId xmlns:a16="http://schemas.microsoft.com/office/drawing/2014/main" id="{30ED8E7F-88E5-E838-77DA-5460667BCBC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975475" y="5578475"/>
                <a:ext cx="2686050" cy="1152525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8" name="Freeform 6">
                <a:extLst>
                  <a:ext uri="{FF2B5EF4-FFF2-40B4-BE49-F238E27FC236}">
                    <a16:creationId xmlns:a16="http://schemas.microsoft.com/office/drawing/2014/main" id="{490A0BA1-44CC-F121-D2E9-7488FC4478B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456613" y="1639888"/>
                <a:ext cx="2495550" cy="2339975"/>
              </a:xfrm>
              <a:custGeom>
                <a:avLst/>
                <a:gdLst>
                  <a:gd name="T0" fmla="*/ 677 w 684"/>
                  <a:gd name="T1" fmla="*/ 259 h 641"/>
                  <a:gd name="T2" fmla="*/ 576 w 684"/>
                  <a:gd name="T3" fmla="*/ 186 h 641"/>
                  <a:gd name="T4" fmla="*/ 562 w 684"/>
                  <a:gd name="T5" fmla="*/ 61 h 641"/>
                  <a:gd name="T6" fmla="*/ 513 w 684"/>
                  <a:gd name="T7" fmla="*/ 25 h 641"/>
                  <a:gd name="T8" fmla="*/ 457 w 684"/>
                  <a:gd name="T9" fmla="*/ 0 h 641"/>
                  <a:gd name="T10" fmla="*/ 342 w 684"/>
                  <a:gd name="T11" fmla="*/ 51 h 641"/>
                  <a:gd name="T12" fmla="*/ 228 w 684"/>
                  <a:gd name="T13" fmla="*/ 0 h 641"/>
                  <a:gd name="T14" fmla="*/ 122 w 684"/>
                  <a:gd name="T15" fmla="*/ 61 h 641"/>
                  <a:gd name="T16" fmla="*/ 109 w 684"/>
                  <a:gd name="T17" fmla="*/ 186 h 641"/>
                  <a:gd name="T18" fmla="*/ 8 w 684"/>
                  <a:gd name="T19" fmla="*/ 259 h 641"/>
                  <a:gd name="T20" fmla="*/ 8 w 684"/>
                  <a:gd name="T21" fmla="*/ 381 h 641"/>
                  <a:gd name="T22" fmla="*/ 109 w 684"/>
                  <a:gd name="T23" fmla="*/ 455 h 641"/>
                  <a:gd name="T24" fmla="*/ 122 w 684"/>
                  <a:gd name="T25" fmla="*/ 580 h 641"/>
                  <a:gd name="T26" fmla="*/ 172 w 684"/>
                  <a:gd name="T27" fmla="*/ 615 h 641"/>
                  <a:gd name="T28" fmla="*/ 228 w 684"/>
                  <a:gd name="T29" fmla="*/ 641 h 641"/>
                  <a:gd name="T30" fmla="*/ 342 w 684"/>
                  <a:gd name="T31" fmla="*/ 590 h 641"/>
                  <a:gd name="T32" fmla="*/ 457 w 684"/>
                  <a:gd name="T33" fmla="*/ 641 h 641"/>
                  <a:gd name="T34" fmla="*/ 562 w 684"/>
                  <a:gd name="T35" fmla="*/ 580 h 641"/>
                  <a:gd name="T36" fmla="*/ 576 w 684"/>
                  <a:gd name="T37" fmla="*/ 455 h 641"/>
                  <a:gd name="T38" fmla="*/ 677 w 684"/>
                  <a:gd name="T39" fmla="*/ 381 h 641"/>
                  <a:gd name="T40" fmla="*/ 677 w 684"/>
                  <a:gd name="T41" fmla="*/ 259 h 641"/>
                  <a:gd name="T42" fmla="*/ 479 w 684"/>
                  <a:gd name="T43" fmla="*/ 399 h 641"/>
                  <a:gd name="T44" fmla="*/ 264 w 684"/>
                  <a:gd name="T45" fmla="*/ 457 h 641"/>
                  <a:gd name="T46" fmla="*/ 206 w 684"/>
                  <a:gd name="T47" fmla="*/ 241 h 641"/>
                  <a:gd name="T48" fmla="*/ 421 w 684"/>
                  <a:gd name="T49" fmla="*/ 184 h 641"/>
                  <a:gd name="T50" fmla="*/ 479 w 684"/>
                  <a:gd name="T51" fmla="*/ 399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84" h="641">
                    <a:moveTo>
                      <a:pt x="677" y="259"/>
                    </a:moveTo>
                    <a:cubicBezTo>
                      <a:pt x="636" y="250"/>
                      <a:pt x="598" y="225"/>
                      <a:pt x="576" y="186"/>
                    </a:cubicBezTo>
                    <a:cubicBezTo>
                      <a:pt x="553" y="146"/>
                      <a:pt x="550" y="101"/>
                      <a:pt x="562" y="61"/>
                    </a:cubicBezTo>
                    <a:cubicBezTo>
                      <a:pt x="547" y="48"/>
                      <a:pt x="531" y="36"/>
                      <a:pt x="513" y="25"/>
                    </a:cubicBezTo>
                    <a:cubicBezTo>
                      <a:pt x="494" y="15"/>
                      <a:pt x="476" y="7"/>
                      <a:pt x="457" y="0"/>
                    </a:cubicBezTo>
                    <a:cubicBezTo>
                      <a:pt x="428" y="31"/>
                      <a:pt x="388" y="51"/>
                      <a:pt x="342" y="51"/>
                    </a:cubicBezTo>
                    <a:cubicBezTo>
                      <a:pt x="297" y="51"/>
                      <a:pt x="256" y="31"/>
                      <a:pt x="228" y="0"/>
                    </a:cubicBezTo>
                    <a:cubicBezTo>
                      <a:pt x="190" y="14"/>
                      <a:pt x="154" y="34"/>
                      <a:pt x="122" y="61"/>
                    </a:cubicBezTo>
                    <a:cubicBezTo>
                      <a:pt x="135" y="101"/>
                      <a:pt x="132" y="146"/>
                      <a:pt x="109" y="186"/>
                    </a:cubicBezTo>
                    <a:cubicBezTo>
                      <a:pt x="86" y="225"/>
                      <a:pt x="49" y="250"/>
                      <a:pt x="8" y="259"/>
                    </a:cubicBezTo>
                    <a:cubicBezTo>
                      <a:pt x="0" y="300"/>
                      <a:pt x="0" y="341"/>
                      <a:pt x="8" y="381"/>
                    </a:cubicBezTo>
                    <a:cubicBezTo>
                      <a:pt x="49" y="390"/>
                      <a:pt x="86" y="416"/>
                      <a:pt x="109" y="455"/>
                    </a:cubicBezTo>
                    <a:cubicBezTo>
                      <a:pt x="132" y="494"/>
                      <a:pt x="135" y="539"/>
                      <a:pt x="122" y="580"/>
                    </a:cubicBezTo>
                    <a:cubicBezTo>
                      <a:pt x="138" y="593"/>
                      <a:pt x="154" y="605"/>
                      <a:pt x="172" y="615"/>
                    </a:cubicBezTo>
                    <a:cubicBezTo>
                      <a:pt x="190" y="626"/>
                      <a:pt x="209" y="634"/>
                      <a:pt x="228" y="641"/>
                    </a:cubicBezTo>
                    <a:cubicBezTo>
                      <a:pt x="256" y="610"/>
                      <a:pt x="297" y="590"/>
                      <a:pt x="342" y="590"/>
                    </a:cubicBezTo>
                    <a:cubicBezTo>
                      <a:pt x="388" y="590"/>
                      <a:pt x="428" y="610"/>
                      <a:pt x="457" y="641"/>
                    </a:cubicBezTo>
                    <a:cubicBezTo>
                      <a:pt x="495" y="627"/>
                      <a:pt x="531" y="606"/>
                      <a:pt x="562" y="580"/>
                    </a:cubicBezTo>
                    <a:cubicBezTo>
                      <a:pt x="550" y="539"/>
                      <a:pt x="553" y="494"/>
                      <a:pt x="576" y="455"/>
                    </a:cubicBezTo>
                    <a:cubicBezTo>
                      <a:pt x="598" y="416"/>
                      <a:pt x="636" y="390"/>
                      <a:pt x="677" y="381"/>
                    </a:cubicBezTo>
                    <a:cubicBezTo>
                      <a:pt x="684" y="341"/>
                      <a:pt x="684" y="299"/>
                      <a:pt x="677" y="259"/>
                    </a:cubicBezTo>
                    <a:close/>
                    <a:moveTo>
                      <a:pt x="479" y="399"/>
                    </a:moveTo>
                    <a:cubicBezTo>
                      <a:pt x="435" y="474"/>
                      <a:pt x="339" y="500"/>
                      <a:pt x="264" y="457"/>
                    </a:cubicBezTo>
                    <a:cubicBezTo>
                      <a:pt x="188" y="413"/>
                      <a:pt x="162" y="317"/>
                      <a:pt x="206" y="241"/>
                    </a:cubicBezTo>
                    <a:cubicBezTo>
                      <a:pt x="249" y="166"/>
                      <a:pt x="346" y="140"/>
                      <a:pt x="421" y="184"/>
                    </a:cubicBezTo>
                    <a:cubicBezTo>
                      <a:pt x="497" y="227"/>
                      <a:pt x="522" y="324"/>
                      <a:pt x="479" y="399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40CE220C-43E5-EBAC-C4B4-ED9F7468501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683500" y="-127000"/>
                <a:ext cx="1728787" cy="1839913"/>
              </a:xfrm>
              <a:custGeom>
                <a:avLst/>
                <a:gdLst>
                  <a:gd name="T0" fmla="*/ 437 w 474"/>
                  <a:gd name="T1" fmla="*/ 252 h 504"/>
                  <a:gd name="T2" fmla="*/ 474 w 474"/>
                  <a:gd name="T3" fmla="*/ 167 h 504"/>
                  <a:gd name="T4" fmla="*/ 429 w 474"/>
                  <a:gd name="T5" fmla="*/ 89 h 504"/>
                  <a:gd name="T6" fmla="*/ 337 w 474"/>
                  <a:gd name="T7" fmla="*/ 79 h 504"/>
                  <a:gd name="T8" fmla="*/ 282 w 474"/>
                  <a:gd name="T9" fmla="*/ 4 h 504"/>
                  <a:gd name="T10" fmla="*/ 237 w 474"/>
                  <a:gd name="T11" fmla="*/ 0 h 504"/>
                  <a:gd name="T12" fmla="*/ 192 w 474"/>
                  <a:gd name="T13" fmla="*/ 4 h 504"/>
                  <a:gd name="T14" fmla="*/ 137 w 474"/>
                  <a:gd name="T15" fmla="*/ 79 h 504"/>
                  <a:gd name="T16" fmla="*/ 45 w 474"/>
                  <a:gd name="T17" fmla="*/ 89 h 504"/>
                  <a:gd name="T18" fmla="*/ 0 w 474"/>
                  <a:gd name="T19" fmla="*/ 167 h 504"/>
                  <a:gd name="T20" fmla="*/ 37 w 474"/>
                  <a:gd name="T21" fmla="*/ 252 h 504"/>
                  <a:gd name="T22" fmla="*/ 0 w 474"/>
                  <a:gd name="T23" fmla="*/ 337 h 504"/>
                  <a:gd name="T24" fmla="*/ 45 w 474"/>
                  <a:gd name="T25" fmla="*/ 415 h 504"/>
                  <a:gd name="T26" fmla="*/ 137 w 474"/>
                  <a:gd name="T27" fmla="*/ 425 h 504"/>
                  <a:gd name="T28" fmla="*/ 192 w 474"/>
                  <a:gd name="T29" fmla="*/ 500 h 504"/>
                  <a:gd name="T30" fmla="*/ 237 w 474"/>
                  <a:gd name="T31" fmla="*/ 504 h 504"/>
                  <a:gd name="T32" fmla="*/ 282 w 474"/>
                  <a:gd name="T33" fmla="*/ 500 h 504"/>
                  <a:gd name="T34" fmla="*/ 337 w 474"/>
                  <a:gd name="T35" fmla="*/ 425 h 504"/>
                  <a:gd name="T36" fmla="*/ 429 w 474"/>
                  <a:gd name="T37" fmla="*/ 415 h 504"/>
                  <a:gd name="T38" fmla="*/ 474 w 474"/>
                  <a:gd name="T39" fmla="*/ 337 h 504"/>
                  <a:gd name="T40" fmla="*/ 437 w 474"/>
                  <a:gd name="T41" fmla="*/ 252 h 504"/>
                  <a:gd name="T42" fmla="*/ 237 w 474"/>
                  <a:gd name="T43" fmla="*/ 357 h 504"/>
                  <a:gd name="T44" fmla="*/ 132 w 474"/>
                  <a:gd name="T45" fmla="*/ 252 h 504"/>
                  <a:gd name="T46" fmla="*/ 237 w 474"/>
                  <a:gd name="T47" fmla="*/ 147 h 504"/>
                  <a:gd name="T48" fmla="*/ 342 w 474"/>
                  <a:gd name="T49" fmla="*/ 252 h 504"/>
                  <a:gd name="T50" fmla="*/ 237 w 474"/>
                  <a:gd name="T51" fmla="*/ 357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74" h="504">
                    <a:moveTo>
                      <a:pt x="437" y="252"/>
                    </a:moveTo>
                    <a:cubicBezTo>
                      <a:pt x="437" y="218"/>
                      <a:pt x="451" y="188"/>
                      <a:pt x="474" y="167"/>
                    </a:cubicBezTo>
                    <a:cubicBezTo>
                      <a:pt x="464" y="138"/>
                      <a:pt x="449" y="112"/>
                      <a:pt x="429" y="89"/>
                    </a:cubicBezTo>
                    <a:cubicBezTo>
                      <a:pt x="400" y="98"/>
                      <a:pt x="366" y="96"/>
                      <a:pt x="337" y="79"/>
                    </a:cubicBezTo>
                    <a:cubicBezTo>
                      <a:pt x="308" y="62"/>
                      <a:pt x="289" y="34"/>
                      <a:pt x="282" y="4"/>
                    </a:cubicBezTo>
                    <a:cubicBezTo>
                      <a:pt x="268" y="1"/>
                      <a:pt x="253" y="0"/>
                      <a:pt x="237" y="0"/>
                    </a:cubicBezTo>
                    <a:cubicBezTo>
                      <a:pt x="222" y="0"/>
                      <a:pt x="207" y="1"/>
                      <a:pt x="192" y="4"/>
                    </a:cubicBezTo>
                    <a:cubicBezTo>
                      <a:pt x="185" y="34"/>
                      <a:pt x="166" y="62"/>
                      <a:pt x="137" y="79"/>
                    </a:cubicBezTo>
                    <a:cubicBezTo>
                      <a:pt x="108" y="96"/>
                      <a:pt x="75" y="98"/>
                      <a:pt x="45" y="89"/>
                    </a:cubicBezTo>
                    <a:cubicBezTo>
                      <a:pt x="26" y="112"/>
                      <a:pt x="10" y="138"/>
                      <a:pt x="0" y="167"/>
                    </a:cubicBezTo>
                    <a:cubicBezTo>
                      <a:pt x="23" y="188"/>
                      <a:pt x="37" y="218"/>
                      <a:pt x="37" y="252"/>
                    </a:cubicBezTo>
                    <a:cubicBezTo>
                      <a:pt x="37" y="286"/>
                      <a:pt x="23" y="316"/>
                      <a:pt x="0" y="337"/>
                    </a:cubicBezTo>
                    <a:cubicBezTo>
                      <a:pt x="10" y="366"/>
                      <a:pt x="26" y="392"/>
                      <a:pt x="45" y="415"/>
                    </a:cubicBezTo>
                    <a:cubicBezTo>
                      <a:pt x="75" y="406"/>
                      <a:pt x="108" y="408"/>
                      <a:pt x="137" y="425"/>
                    </a:cubicBezTo>
                    <a:cubicBezTo>
                      <a:pt x="166" y="442"/>
                      <a:pt x="185" y="469"/>
                      <a:pt x="192" y="500"/>
                    </a:cubicBezTo>
                    <a:cubicBezTo>
                      <a:pt x="207" y="503"/>
                      <a:pt x="222" y="504"/>
                      <a:pt x="237" y="504"/>
                    </a:cubicBezTo>
                    <a:cubicBezTo>
                      <a:pt x="253" y="504"/>
                      <a:pt x="268" y="503"/>
                      <a:pt x="282" y="500"/>
                    </a:cubicBezTo>
                    <a:cubicBezTo>
                      <a:pt x="289" y="469"/>
                      <a:pt x="308" y="442"/>
                      <a:pt x="337" y="425"/>
                    </a:cubicBezTo>
                    <a:cubicBezTo>
                      <a:pt x="366" y="408"/>
                      <a:pt x="400" y="406"/>
                      <a:pt x="429" y="415"/>
                    </a:cubicBezTo>
                    <a:cubicBezTo>
                      <a:pt x="449" y="392"/>
                      <a:pt x="464" y="366"/>
                      <a:pt x="474" y="337"/>
                    </a:cubicBezTo>
                    <a:cubicBezTo>
                      <a:pt x="451" y="316"/>
                      <a:pt x="437" y="286"/>
                      <a:pt x="437" y="252"/>
                    </a:cubicBezTo>
                    <a:close/>
                    <a:moveTo>
                      <a:pt x="237" y="357"/>
                    </a:moveTo>
                    <a:cubicBezTo>
                      <a:pt x="179" y="357"/>
                      <a:pt x="132" y="310"/>
                      <a:pt x="132" y="252"/>
                    </a:cubicBezTo>
                    <a:cubicBezTo>
                      <a:pt x="132" y="194"/>
                      <a:pt x="179" y="147"/>
                      <a:pt x="237" y="147"/>
                    </a:cubicBezTo>
                    <a:cubicBezTo>
                      <a:pt x="295" y="147"/>
                      <a:pt x="342" y="194"/>
                      <a:pt x="342" y="252"/>
                    </a:cubicBezTo>
                    <a:cubicBezTo>
                      <a:pt x="342" y="310"/>
                      <a:pt x="295" y="357"/>
                      <a:pt x="237" y="357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7" name="Freeform 8">
                <a:extLst>
                  <a:ext uri="{FF2B5EF4-FFF2-40B4-BE49-F238E27FC236}">
                    <a16:creationId xmlns:a16="http://schemas.microsoft.com/office/drawing/2014/main" id="{C47746AC-CFF1-8DB6-9F2A-E335A7313C0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868863" y="595313"/>
                <a:ext cx="6897687" cy="4595813"/>
              </a:xfrm>
              <a:custGeom>
                <a:avLst/>
                <a:gdLst>
                  <a:gd name="T0" fmla="*/ 1837 w 1890"/>
                  <a:gd name="T1" fmla="*/ 0 h 1259"/>
                  <a:gd name="T2" fmla="*/ 1520 w 1890"/>
                  <a:gd name="T3" fmla="*/ 0 h 1259"/>
                  <a:gd name="T4" fmla="*/ 1364 w 1890"/>
                  <a:gd name="T5" fmla="*/ 0 h 1259"/>
                  <a:gd name="T6" fmla="*/ 1323 w 1890"/>
                  <a:gd name="T7" fmla="*/ 0 h 1259"/>
                  <a:gd name="T8" fmla="*/ 1309 w 1890"/>
                  <a:gd name="T9" fmla="*/ 54 h 1259"/>
                  <a:gd name="T10" fmla="*/ 1322 w 1890"/>
                  <a:gd name="T11" fmla="*/ 105 h 1259"/>
                  <a:gd name="T12" fmla="*/ 1364 w 1890"/>
                  <a:gd name="T13" fmla="*/ 105 h 1259"/>
                  <a:gd name="T14" fmla="*/ 1522 w 1890"/>
                  <a:gd name="T15" fmla="*/ 105 h 1259"/>
                  <a:gd name="T16" fmla="*/ 1784 w 1890"/>
                  <a:gd name="T17" fmla="*/ 105 h 1259"/>
                  <a:gd name="T18" fmla="*/ 1784 w 1890"/>
                  <a:gd name="T19" fmla="*/ 1154 h 1259"/>
                  <a:gd name="T20" fmla="*/ 105 w 1890"/>
                  <a:gd name="T21" fmla="*/ 1154 h 1259"/>
                  <a:gd name="T22" fmla="*/ 105 w 1890"/>
                  <a:gd name="T23" fmla="*/ 105 h 1259"/>
                  <a:gd name="T24" fmla="*/ 494 w 1890"/>
                  <a:gd name="T25" fmla="*/ 105 h 1259"/>
                  <a:gd name="T26" fmla="*/ 547 w 1890"/>
                  <a:gd name="T27" fmla="*/ 105 h 1259"/>
                  <a:gd name="T28" fmla="*/ 695 w 1890"/>
                  <a:gd name="T29" fmla="*/ 105 h 1259"/>
                  <a:gd name="T30" fmla="*/ 707 w 1890"/>
                  <a:gd name="T31" fmla="*/ 54 h 1259"/>
                  <a:gd name="T32" fmla="*/ 693 w 1890"/>
                  <a:gd name="T33" fmla="*/ 0 h 1259"/>
                  <a:gd name="T34" fmla="*/ 547 w 1890"/>
                  <a:gd name="T35" fmla="*/ 0 h 1259"/>
                  <a:gd name="T36" fmla="*/ 496 w 1890"/>
                  <a:gd name="T37" fmla="*/ 0 h 1259"/>
                  <a:gd name="T38" fmla="*/ 52 w 1890"/>
                  <a:gd name="T39" fmla="*/ 0 h 1259"/>
                  <a:gd name="T40" fmla="*/ 0 w 1890"/>
                  <a:gd name="T41" fmla="*/ 52 h 1259"/>
                  <a:gd name="T42" fmla="*/ 0 w 1890"/>
                  <a:gd name="T43" fmla="*/ 1207 h 1259"/>
                  <a:gd name="T44" fmla="*/ 52 w 1890"/>
                  <a:gd name="T45" fmla="*/ 1259 h 1259"/>
                  <a:gd name="T46" fmla="*/ 1837 w 1890"/>
                  <a:gd name="T47" fmla="*/ 1259 h 1259"/>
                  <a:gd name="T48" fmla="*/ 1890 w 1890"/>
                  <a:gd name="T49" fmla="*/ 1207 h 1259"/>
                  <a:gd name="T50" fmla="*/ 1890 w 1890"/>
                  <a:gd name="T51" fmla="*/ 52 h 1259"/>
                  <a:gd name="T52" fmla="*/ 1837 w 1890"/>
                  <a:gd name="T53" fmla="*/ 0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90" h="1259">
                    <a:moveTo>
                      <a:pt x="1837" y="0"/>
                    </a:moveTo>
                    <a:cubicBezTo>
                      <a:pt x="1520" y="0"/>
                      <a:pt x="1520" y="0"/>
                      <a:pt x="1520" y="0"/>
                    </a:cubicBezTo>
                    <a:cubicBezTo>
                      <a:pt x="1364" y="0"/>
                      <a:pt x="1364" y="0"/>
                      <a:pt x="1364" y="0"/>
                    </a:cubicBezTo>
                    <a:cubicBezTo>
                      <a:pt x="1323" y="0"/>
                      <a:pt x="1323" y="0"/>
                      <a:pt x="1323" y="0"/>
                    </a:cubicBezTo>
                    <a:cubicBezTo>
                      <a:pt x="1314" y="16"/>
                      <a:pt x="1309" y="34"/>
                      <a:pt x="1309" y="54"/>
                    </a:cubicBezTo>
                    <a:cubicBezTo>
                      <a:pt x="1309" y="72"/>
                      <a:pt x="1314" y="89"/>
                      <a:pt x="1322" y="105"/>
                    </a:cubicBezTo>
                    <a:cubicBezTo>
                      <a:pt x="1364" y="105"/>
                      <a:pt x="1364" y="105"/>
                      <a:pt x="1364" y="105"/>
                    </a:cubicBezTo>
                    <a:cubicBezTo>
                      <a:pt x="1522" y="105"/>
                      <a:pt x="1522" y="105"/>
                      <a:pt x="1522" y="105"/>
                    </a:cubicBezTo>
                    <a:cubicBezTo>
                      <a:pt x="1784" y="105"/>
                      <a:pt x="1784" y="105"/>
                      <a:pt x="1784" y="105"/>
                    </a:cubicBezTo>
                    <a:cubicBezTo>
                      <a:pt x="1784" y="1154"/>
                      <a:pt x="1784" y="1154"/>
                      <a:pt x="1784" y="1154"/>
                    </a:cubicBezTo>
                    <a:cubicBezTo>
                      <a:pt x="105" y="1154"/>
                      <a:pt x="105" y="1154"/>
                      <a:pt x="105" y="1154"/>
                    </a:cubicBezTo>
                    <a:cubicBezTo>
                      <a:pt x="105" y="105"/>
                      <a:pt x="105" y="105"/>
                      <a:pt x="105" y="105"/>
                    </a:cubicBezTo>
                    <a:cubicBezTo>
                      <a:pt x="494" y="105"/>
                      <a:pt x="494" y="105"/>
                      <a:pt x="494" y="105"/>
                    </a:cubicBezTo>
                    <a:cubicBezTo>
                      <a:pt x="547" y="105"/>
                      <a:pt x="547" y="105"/>
                      <a:pt x="547" y="105"/>
                    </a:cubicBezTo>
                    <a:cubicBezTo>
                      <a:pt x="695" y="105"/>
                      <a:pt x="695" y="105"/>
                      <a:pt x="695" y="105"/>
                    </a:cubicBezTo>
                    <a:cubicBezTo>
                      <a:pt x="703" y="89"/>
                      <a:pt x="707" y="72"/>
                      <a:pt x="707" y="54"/>
                    </a:cubicBezTo>
                    <a:cubicBezTo>
                      <a:pt x="707" y="34"/>
                      <a:pt x="702" y="16"/>
                      <a:pt x="693" y="0"/>
                    </a:cubicBezTo>
                    <a:cubicBezTo>
                      <a:pt x="547" y="0"/>
                      <a:pt x="547" y="0"/>
                      <a:pt x="547" y="0"/>
                    </a:cubicBezTo>
                    <a:cubicBezTo>
                      <a:pt x="496" y="0"/>
                      <a:pt x="496" y="0"/>
                      <a:pt x="496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3" y="0"/>
                      <a:pt x="0" y="23"/>
                      <a:pt x="0" y="52"/>
                    </a:cubicBezTo>
                    <a:cubicBezTo>
                      <a:pt x="0" y="1207"/>
                      <a:pt x="0" y="1207"/>
                      <a:pt x="0" y="1207"/>
                    </a:cubicBezTo>
                    <a:cubicBezTo>
                      <a:pt x="0" y="1236"/>
                      <a:pt x="23" y="1259"/>
                      <a:pt x="52" y="1259"/>
                    </a:cubicBezTo>
                    <a:cubicBezTo>
                      <a:pt x="1837" y="1259"/>
                      <a:pt x="1837" y="1259"/>
                      <a:pt x="1837" y="1259"/>
                    </a:cubicBezTo>
                    <a:cubicBezTo>
                      <a:pt x="1866" y="1259"/>
                      <a:pt x="1890" y="1236"/>
                      <a:pt x="1890" y="1207"/>
                    </a:cubicBezTo>
                    <a:cubicBezTo>
                      <a:pt x="1890" y="52"/>
                      <a:pt x="1890" y="52"/>
                      <a:pt x="1890" y="52"/>
                    </a:cubicBezTo>
                    <a:cubicBezTo>
                      <a:pt x="1890" y="23"/>
                      <a:pt x="1866" y="0"/>
                      <a:pt x="1837" y="0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40D8C01-C54C-6386-B2C8-7422E4F9C1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40D8C01-C54C-6386-B2C8-7422E4F9C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2E436DB7-5101-49B5-9F9F-677101654253}"/>
              </a:ext>
            </a:extLst>
          </p:cNvPr>
          <p:cNvSpPr/>
          <p:nvPr/>
        </p:nvSpPr>
        <p:spPr bwMode="gray">
          <a:xfrm flipH="1">
            <a:off x="4039300" y="1774832"/>
            <a:ext cx="2071747" cy="2040685"/>
          </a:xfrm>
          <a:custGeom>
            <a:avLst/>
            <a:gdLst>
              <a:gd name="connsiteX0" fmla="*/ 71424 w 2071747"/>
              <a:gd name="connsiteY0" fmla="*/ 0 h 2040685"/>
              <a:gd name="connsiteX1" fmla="*/ 0 w 2071747"/>
              <a:gd name="connsiteY1" fmla="*/ 194759 h 2040685"/>
              <a:gd name="connsiteX2" fmla="*/ 73283 w 2071747"/>
              <a:gd name="connsiteY2" fmla="*/ 394586 h 2040685"/>
              <a:gd name="connsiteX3" fmla="*/ 185070 w 2071747"/>
              <a:gd name="connsiteY3" fmla="*/ 400231 h 2040685"/>
              <a:gd name="connsiteX4" fmla="*/ 1669369 w 2071747"/>
              <a:gd name="connsiteY4" fmla="*/ 1884530 h 2040685"/>
              <a:gd name="connsiteX5" fmla="*/ 1676656 w 2071747"/>
              <a:gd name="connsiteY5" fmla="*/ 2028846 h 2040685"/>
              <a:gd name="connsiteX6" fmla="*/ 1858060 w 2071747"/>
              <a:gd name="connsiteY6" fmla="*/ 1962320 h 2040685"/>
              <a:gd name="connsiteX7" fmla="*/ 2071747 w 2071747"/>
              <a:gd name="connsiteY7" fmla="*/ 2040685 h 2040685"/>
              <a:gd name="connsiteX8" fmla="*/ 2061825 w 2071747"/>
              <a:gd name="connsiteY8" fmla="*/ 1844196 h 2040685"/>
              <a:gd name="connsiteX9" fmla="*/ 225404 w 2071747"/>
              <a:gd name="connsiteY9" fmla="*/ 7775 h 2040685"/>
              <a:gd name="connsiteX10" fmla="*/ 71424 w 2071747"/>
              <a:gd name="connsiteY10" fmla="*/ 0 h 204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71747" h="2040685">
                <a:moveTo>
                  <a:pt x="71424" y="0"/>
                </a:moveTo>
                <a:lnTo>
                  <a:pt x="0" y="194759"/>
                </a:lnTo>
                <a:lnTo>
                  <a:pt x="73283" y="394586"/>
                </a:lnTo>
                <a:lnTo>
                  <a:pt x="185070" y="400231"/>
                </a:lnTo>
                <a:cubicBezTo>
                  <a:pt x="967699" y="479712"/>
                  <a:pt x="1589889" y="1101902"/>
                  <a:pt x="1669369" y="1884530"/>
                </a:cubicBezTo>
                <a:lnTo>
                  <a:pt x="1676656" y="2028846"/>
                </a:lnTo>
                <a:lnTo>
                  <a:pt x="1858060" y="1962320"/>
                </a:lnTo>
                <a:lnTo>
                  <a:pt x="2071747" y="2040685"/>
                </a:lnTo>
                <a:lnTo>
                  <a:pt x="2061825" y="1844196"/>
                </a:lnTo>
                <a:cubicBezTo>
                  <a:pt x="1963490" y="875903"/>
                  <a:pt x="1193697" y="106111"/>
                  <a:pt x="225404" y="7775"/>
                </a:cubicBezTo>
                <a:lnTo>
                  <a:pt x="71424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5A69F8B-9BE8-1D66-E9FD-760967E67995}"/>
              </a:ext>
            </a:extLst>
          </p:cNvPr>
          <p:cNvGrpSpPr>
            <a:grpSpLocks noChangeAspect="1"/>
          </p:cNvGrpSpPr>
          <p:nvPr/>
        </p:nvGrpSpPr>
        <p:grpSpPr>
          <a:xfrm>
            <a:off x="4512001" y="2239282"/>
            <a:ext cx="3167999" cy="3168000"/>
            <a:chOff x="4512001" y="1951610"/>
            <a:chExt cx="3167999" cy="3168000"/>
          </a:xfrm>
        </p:grpSpPr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0DBD3656-6FED-5ACC-7F1A-BFC5C96858F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512001" y="1951610"/>
              <a:ext cx="3167999" cy="316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de-DE" sz="2000" dirty="0">
                <a:solidFill>
                  <a:schemeClr val="bg1"/>
                </a:solidFill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BE0ED97-18A0-F2A1-40A1-C6B9B023B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4974324" y="2756175"/>
              <a:ext cx="2243352" cy="1347791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C8AADD32-6A4A-E842-C7E7-752E3BB09C75}"/>
              </a:ext>
            </a:extLst>
          </p:cNvPr>
          <p:cNvSpPr/>
          <p:nvPr/>
        </p:nvSpPr>
        <p:spPr bwMode="gray">
          <a:xfrm>
            <a:off x="407987" y="516885"/>
            <a:ext cx="116493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Ihre</a:t>
            </a:r>
            <a:r>
              <a:rPr lang="de-DE" sz="5400" b="1" dirty="0">
                <a:solidFill>
                  <a:schemeClr val="accent1"/>
                </a:solidFill>
              </a:rPr>
              <a:t> Vorteile</a:t>
            </a:r>
            <a:endParaRPr lang="de-DE" sz="5400" dirty="0">
              <a:solidFill>
                <a:schemeClr val="accent1"/>
              </a:solidFill>
            </a:endParaRP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E9A2C38D-6B60-4E39-1814-0B0078F58B04}"/>
              </a:ext>
            </a:extLst>
          </p:cNvPr>
          <p:cNvSpPr txBox="1">
            <a:spLocks/>
          </p:cNvSpPr>
          <p:nvPr/>
        </p:nvSpPr>
        <p:spPr bwMode="gray">
          <a:xfrm>
            <a:off x="8440670" y="2387267"/>
            <a:ext cx="2700000" cy="1276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b="1" dirty="0"/>
              <a:t>Ausgezeichnete Produkte </a:t>
            </a:r>
            <a:r>
              <a:rPr lang="de-DE" dirty="0"/>
              <a:t>mit einem erstklassigen Preis-/ Leistungsverhältnis</a:t>
            </a:r>
          </a:p>
        </p:txBody>
      </p:sp>
      <p:grpSp>
        <p:nvGrpSpPr>
          <p:cNvPr id="18" name="Grafik 5">
            <a:extLst>
              <a:ext uri="{FF2B5EF4-FFF2-40B4-BE49-F238E27FC236}">
                <a16:creationId xmlns:a16="http://schemas.microsoft.com/office/drawing/2014/main" id="{E9D0ACAD-B145-B5DF-DD35-66A48E13229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40670" y="1597442"/>
            <a:ext cx="379794" cy="684000"/>
            <a:chOff x="4192027" y="0"/>
            <a:chExt cx="3807946" cy="6858000"/>
          </a:xfrm>
          <a:solidFill>
            <a:schemeClr val="accent2"/>
          </a:solidFill>
        </p:grpSpPr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0B475D88-47BE-65D0-D817-7633E9143CEA}"/>
                </a:ext>
              </a:extLst>
            </p:cNvPr>
            <p:cNvSpPr/>
            <p:nvPr/>
          </p:nvSpPr>
          <p:spPr bwMode="gray">
            <a:xfrm>
              <a:off x="4551841" y="3862108"/>
              <a:ext cx="3087024" cy="2994598"/>
            </a:xfrm>
            <a:custGeom>
              <a:avLst/>
              <a:gdLst>
                <a:gd name="connsiteX0" fmla="*/ 1544067 w 3087024"/>
                <a:gd name="connsiteY0" fmla="*/ 275799 h 2994598"/>
                <a:gd name="connsiteX1" fmla="*/ 870375 w 3087024"/>
                <a:gd name="connsiteY1" fmla="*/ 0 h 2994598"/>
                <a:gd name="connsiteX2" fmla="*/ 0 w 3087024"/>
                <a:gd name="connsiteY2" fmla="*/ 2345677 h 2994598"/>
                <a:gd name="connsiteX3" fmla="*/ 812793 w 3087024"/>
                <a:gd name="connsiteY3" fmla="*/ 1695460 h 2994598"/>
                <a:gd name="connsiteX4" fmla="*/ 1625401 w 3087024"/>
                <a:gd name="connsiteY4" fmla="*/ 2995800 h 2994598"/>
                <a:gd name="connsiteX5" fmla="*/ 2275433 w 3087024"/>
                <a:gd name="connsiteY5" fmla="*/ 1695460 h 2994598"/>
                <a:gd name="connsiteX6" fmla="*/ 3088226 w 3087024"/>
                <a:gd name="connsiteY6" fmla="*/ 2345677 h 2994598"/>
                <a:gd name="connsiteX7" fmla="*/ 2217944 w 3087024"/>
                <a:gd name="connsiteY7" fmla="*/ 0 h 2994598"/>
                <a:gd name="connsiteX8" fmla="*/ 1544067 w 3087024"/>
                <a:gd name="connsiteY8" fmla="*/ 275799 h 29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7024" h="2994598">
                  <a:moveTo>
                    <a:pt x="1544067" y="275799"/>
                  </a:moveTo>
                  <a:cubicBezTo>
                    <a:pt x="1240633" y="275799"/>
                    <a:pt x="1022415" y="139194"/>
                    <a:pt x="870375" y="0"/>
                  </a:cubicBezTo>
                  <a:lnTo>
                    <a:pt x="0" y="2345677"/>
                  </a:lnTo>
                  <a:lnTo>
                    <a:pt x="812793" y="1695460"/>
                  </a:lnTo>
                  <a:lnTo>
                    <a:pt x="1625401" y="2995800"/>
                  </a:lnTo>
                  <a:lnTo>
                    <a:pt x="2275433" y="1695460"/>
                  </a:lnTo>
                  <a:lnTo>
                    <a:pt x="3088226" y="2345677"/>
                  </a:lnTo>
                  <a:lnTo>
                    <a:pt x="2217944" y="0"/>
                  </a:lnTo>
                  <a:cubicBezTo>
                    <a:pt x="2065718" y="139101"/>
                    <a:pt x="1847501" y="275799"/>
                    <a:pt x="1544067" y="275799"/>
                  </a:cubicBezTo>
                  <a:close/>
                </a:path>
              </a:pathLst>
            </a:custGeom>
            <a:grpFill/>
            <a:ln w="9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043468DB-CDFB-35E4-DAFB-43A5EEB7E369}"/>
                </a:ext>
              </a:extLst>
            </p:cNvPr>
            <p:cNvSpPr/>
            <p:nvPr/>
          </p:nvSpPr>
          <p:spPr bwMode="gray">
            <a:xfrm>
              <a:off x="4192027" y="0"/>
              <a:ext cx="3798703" cy="3743248"/>
            </a:xfrm>
            <a:custGeom>
              <a:avLst/>
              <a:gdLst>
                <a:gd name="connsiteX0" fmla="*/ 3459593 w 3798703"/>
                <a:gd name="connsiteY0" fmla="*/ 1309120 h 3743247"/>
                <a:gd name="connsiteX1" fmla="*/ 3401457 w 3798703"/>
                <a:gd name="connsiteY1" fmla="*/ 1261521 h 3743247"/>
                <a:gd name="connsiteX2" fmla="*/ 3408112 w 3798703"/>
                <a:gd name="connsiteY2" fmla="*/ 1180186 h 3743247"/>
                <a:gd name="connsiteX3" fmla="*/ 3249139 w 3798703"/>
                <a:gd name="connsiteY3" fmla="*/ 549564 h 3743247"/>
                <a:gd name="connsiteX4" fmla="*/ 2790060 w 3798703"/>
                <a:gd name="connsiteY4" fmla="*/ 382089 h 3743247"/>
                <a:gd name="connsiteX5" fmla="*/ 2609367 w 3798703"/>
                <a:gd name="connsiteY5" fmla="*/ 392995 h 3743247"/>
                <a:gd name="connsiteX6" fmla="*/ 2526461 w 3798703"/>
                <a:gd name="connsiteY6" fmla="*/ 399650 h 3743247"/>
                <a:gd name="connsiteX7" fmla="*/ 2478215 w 3798703"/>
                <a:gd name="connsiteY7" fmla="*/ 342438 h 3743247"/>
                <a:gd name="connsiteX8" fmla="*/ 1903326 w 3798703"/>
                <a:gd name="connsiteY8" fmla="*/ 0 h 3743247"/>
                <a:gd name="connsiteX9" fmla="*/ 1328345 w 3798703"/>
                <a:gd name="connsiteY9" fmla="*/ 342253 h 3743247"/>
                <a:gd name="connsiteX10" fmla="*/ 1280098 w 3798703"/>
                <a:gd name="connsiteY10" fmla="*/ 399465 h 3743247"/>
                <a:gd name="connsiteX11" fmla="*/ 1197377 w 3798703"/>
                <a:gd name="connsiteY11" fmla="*/ 392810 h 3743247"/>
                <a:gd name="connsiteX12" fmla="*/ 1016500 w 3798703"/>
                <a:gd name="connsiteY12" fmla="*/ 381904 h 3743247"/>
                <a:gd name="connsiteX13" fmla="*/ 557605 w 3798703"/>
                <a:gd name="connsiteY13" fmla="*/ 549195 h 3743247"/>
                <a:gd name="connsiteX14" fmla="*/ 398540 w 3798703"/>
                <a:gd name="connsiteY14" fmla="*/ 1180094 h 3743247"/>
                <a:gd name="connsiteX15" fmla="*/ 405195 w 3798703"/>
                <a:gd name="connsiteY15" fmla="*/ 1261428 h 3743247"/>
                <a:gd name="connsiteX16" fmla="*/ 347244 w 3798703"/>
                <a:gd name="connsiteY16" fmla="*/ 1309028 h 3743247"/>
                <a:gd name="connsiteX17" fmla="*/ 0 w 3798703"/>
                <a:gd name="connsiteY17" fmla="*/ 1875691 h 3743247"/>
                <a:gd name="connsiteX18" fmla="*/ 347244 w 3798703"/>
                <a:gd name="connsiteY18" fmla="*/ 2442261 h 3743247"/>
                <a:gd name="connsiteX19" fmla="*/ 405195 w 3798703"/>
                <a:gd name="connsiteY19" fmla="*/ 2489861 h 3743247"/>
                <a:gd name="connsiteX20" fmla="*/ 398540 w 3798703"/>
                <a:gd name="connsiteY20" fmla="*/ 2571196 h 3743247"/>
                <a:gd name="connsiteX21" fmla="*/ 557513 w 3798703"/>
                <a:gd name="connsiteY21" fmla="*/ 3201817 h 3743247"/>
                <a:gd name="connsiteX22" fmla="*/ 1016592 w 3798703"/>
                <a:gd name="connsiteY22" fmla="*/ 3369293 h 3743247"/>
                <a:gd name="connsiteX23" fmla="*/ 1197470 w 3798703"/>
                <a:gd name="connsiteY23" fmla="*/ 3358387 h 3743247"/>
                <a:gd name="connsiteX24" fmla="*/ 1280191 w 3798703"/>
                <a:gd name="connsiteY24" fmla="*/ 3351732 h 3743247"/>
                <a:gd name="connsiteX25" fmla="*/ 1328437 w 3798703"/>
                <a:gd name="connsiteY25" fmla="*/ 3408759 h 3743247"/>
                <a:gd name="connsiteX26" fmla="*/ 1903419 w 3798703"/>
                <a:gd name="connsiteY26" fmla="*/ 3751012 h 3743247"/>
                <a:gd name="connsiteX27" fmla="*/ 2478400 w 3798703"/>
                <a:gd name="connsiteY27" fmla="*/ 3408759 h 3743247"/>
                <a:gd name="connsiteX28" fmla="*/ 2526646 w 3798703"/>
                <a:gd name="connsiteY28" fmla="*/ 3351732 h 3743247"/>
                <a:gd name="connsiteX29" fmla="*/ 2609552 w 3798703"/>
                <a:gd name="connsiteY29" fmla="*/ 3358387 h 3743247"/>
                <a:gd name="connsiteX30" fmla="*/ 2790245 w 3798703"/>
                <a:gd name="connsiteY30" fmla="*/ 3369293 h 3743247"/>
                <a:gd name="connsiteX31" fmla="*/ 3249139 w 3798703"/>
                <a:gd name="connsiteY31" fmla="*/ 3202002 h 3743247"/>
                <a:gd name="connsiteX32" fmla="*/ 3408297 w 3798703"/>
                <a:gd name="connsiteY32" fmla="*/ 2571196 h 3743247"/>
                <a:gd name="connsiteX33" fmla="*/ 3401642 w 3798703"/>
                <a:gd name="connsiteY33" fmla="*/ 2489861 h 3743247"/>
                <a:gd name="connsiteX34" fmla="*/ 3459778 w 3798703"/>
                <a:gd name="connsiteY34" fmla="*/ 2442261 h 3743247"/>
                <a:gd name="connsiteX35" fmla="*/ 3806837 w 3798703"/>
                <a:gd name="connsiteY35" fmla="*/ 1875691 h 3743247"/>
                <a:gd name="connsiteX36" fmla="*/ 3459593 w 3798703"/>
                <a:gd name="connsiteY36" fmla="*/ 1309120 h 3743247"/>
                <a:gd name="connsiteX37" fmla="*/ 3030830 w 3798703"/>
                <a:gd name="connsiteY37" fmla="*/ 2335972 h 3743247"/>
                <a:gd name="connsiteX38" fmla="*/ 2973063 w 3798703"/>
                <a:gd name="connsiteY38" fmla="*/ 2929993 h 3743247"/>
                <a:gd name="connsiteX39" fmla="*/ 2790060 w 3798703"/>
                <a:gd name="connsiteY39" fmla="*/ 2984894 h 3743247"/>
                <a:gd name="connsiteX40" fmla="*/ 2501506 w 3798703"/>
                <a:gd name="connsiteY40" fmla="*/ 2966593 h 3743247"/>
                <a:gd name="connsiteX41" fmla="*/ 2370354 w 3798703"/>
                <a:gd name="connsiteY41" fmla="*/ 2987020 h 3743247"/>
                <a:gd name="connsiteX42" fmla="*/ 1903419 w 3798703"/>
                <a:gd name="connsiteY42" fmla="*/ 3366890 h 3743247"/>
                <a:gd name="connsiteX43" fmla="*/ 1436483 w 3798703"/>
                <a:gd name="connsiteY43" fmla="*/ 2987020 h 3743247"/>
                <a:gd name="connsiteX44" fmla="*/ 1305331 w 3798703"/>
                <a:gd name="connsiteY44" fmla="*/ 2966593 h 3743247"/>
                <a:gd name="connsiteX45" fmla="*/ 1016777 w 3798703"/>
                <a:gd name="connsiteY45" fmla="*/ 2984894 h 3743247"/>
                <a:gd name="connsiteX46" fmla="*/ 833589 w 3798703"/>
                <a:gd name="connsiteY46" fmla="*/ 2929993 h 3743247"/>
                <a:gd name="connsiteX47" fmla="*/ 776008 w 3798703"/>
                <a:gd name="connsiteY47" fmla="*/ 2335972 h 3743247"/>
                <a:gd name="connsiteX48" fmla="*/ 390314 w 3798703"/>
                <a:gd name="connsiteY48" fmla="*/ 1875691 h 3743247"/>
                <a:gd name="connsiteX49" fmla="*/ 776008 w 3798703"/>
                <a:gd name="connsiteY49" fmla="*/ 1415225 h 3743247"/>
                <a:gd name="connsiteX50" fmla="*/ 833589 w 3798703"/>
                <a:gd name="connsiteY50" fmla="*/ 821204 h 3743247"/>
                <a:gd name="connsiteX51" fmla="*/ 1016777 w 3798703"/>
                <a:gd name="connsiteY51" fmla="*/ 766303 h 3743247"/>
                <a:gd name="connsiteX52" fmla="*/ 1305331 w 3798703"/>
                <a:gd name="connsiteY52" fmla="*/ 784603 h 3743247"/>
                <a:gd name="connsiteX53" fmla="*/ 1436483 w 3798703"/>
                <a:gd name="connsiteY53" fmla="*/ 764177 h 3743247"/>
                <a:gd name="connsiteX54" fmla="*/ 1903419 w 3798703"/>
                <a:gd name="connsiteY54" fmla="*/ 384307 h 3743247"/>
                <a:gd name="connsiteX55" fmla="*/ 2370354 w 3798703"/>
                <a:gd name="connsiteY55" fmla="*/ 764177 h 3743247"/>
                <a:gd name="connsiteX56" fmla="*/ 2501506 w 3798703"/>
                <a:gd name="connsiteY56" fmla="*/ 784603 h 3743247"/>
                <a:gd name="connsiteX57" fmla="*/ 2790060 w 3798703"/>
                <a:gd name="connsiteY57" fmla="*/ 766303 h 3743247"/>
                <a:gd name="connsiteX58" fmla="*/ 2973248 w 3798703"/>
                <a:gd name="connsiteY58" fmla="*/ 821204 h 3743247"/>
                <a:gd name="connsiteX59" fmla="*/ 3030830 w 3798703"/>
                <a:gd name="connsiteY59" fmla="*/ 1415225 h 3743247"/>
                <a:gd name="connsiteX60" fmla="*/ 3416522 w 3798703"/>
                <a:gd name="connsiteY60" fmla="*/ 1875691 h 3743247"/>
                <a:gd name="connsiteX61" fmla="*/ 3030830 w 3798703"/>
                <a:gd name="connsiteY61" fmla="*/ 2335972 h 3743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798703" h="3743247">
                  <a:moveTo>
                    <a:pt x="3459593" y="1309120"/>
                  </a:moveTo>
                  <a:cubicBezTo>
                    <a:pt x="3442032" y="1295164"/>
                    <a:pt x="3419757" y="1277141"/>
                    <a:pt x="3401457" y="1261521"/>
                  </a:cubicBezTo>
                  <a:cubicBezTo>
                    <a:pt x="3402751" y="1235827"/>
                    <a:pt x="3405801" y="1204124"/>
                    <a:pt x="3408112" y="1180186"/>
                  </a:cubicBezTo>
                  <a:cubicBezTo>
                    <a:pt x="3424471" y="1007535"/>
                    <a:pt x="3449426" y="746801"/>
                    <a:pt x="3249139" y="549564"/>
                  </a:cubicBezTo>
                  <a:cubicBezTo>
                    <a:pt x="3136287" y="438468"/>
                    <a:pt x="2981936" y="382089"/>
                    <a:pt x="2790060" y="382089"/>
                  </a:cubicBezTo>
                  <a:cubicBezTo>
                    <a:pt x="2725639" y="382089"/>
                    <a:pt x="2663714" y="387819"/>
                    <a:pt x="2609367" y="392995"/>
                  </a:cubicBezTo>
                  <a:cubicBezTo>
                    <a:pt x="2579237" y="395675"/>
                    <a:pt x="2550862" y="398356"/>
                    <a:pt x="2526461" y="399650"/>
                  </a:cubicBezTo>
                  <a:cubicBezTo>
                    <a:pt x="2510657" y="381719"/>
                    <a:pt x="2492172" y="359629"/>
                    <a:pt x="2478215" y="342438"/>
                  </a:cubicBezTo>
                  <a:cubicBezTo>
                    <a:pt x="2371556" y="214243"/>
                    <a:pt x="2194006" y="0"/>
                    <a:pt x="1903326" y="0"/>
                  </a:cubicBezTo>
                  <a:cubicBezTo>
                    <a:pt x="1612647" y="0"/>
                    <a:pt x="1434912" y="214428"/>
                    <a:pt x="1328345" y="342253"/>
                  </a:cubicBezTo>
                  <a:cubicBezTo>
                    <a:pt x="1314388" y="359259"/>
                    <a:pt x="1295903" y="381534"/>
                    <a:pt x="1280098" y="399465"/>
                  </a:cubicBezTo>
                  <a:cubicBezTo>
                    <a:pt x="1255698" y="398171"/>
                    <a:pt x="1227323" y="395490"/>
                    <a:pt x="1197377" y="392810"/>
                  </a:cubicBezTo>
                  <a:cubicBezTo>
                    <a:pt x="1142846" y="387819"/>
                    <a:pt x="1080921" y="381904"/>
                    <a:pt x="1016500" y="381904"/>
                  </a:cubicBezTo>
                  <a:cubicBezTo>
                    <a:pt x="824439" y="381904"/>
                    <a:pt x="670365" y="438284"/>
                    <a:pt x="557605" y="549195"/>
                  </a:cubicBezTo>
                  <a:cubicBezTo>
                    <a:pt x="356949" y="746709"/>
                    <a:pt x="382089" y="1007442"/>
                    <a:pt x="398540" y="1180094"/>
                  </a:cubicBezTo>
                  <a:cubicBezTo>
                    <a:pt x="400851" y="1204124"/>
                    <a:pt x="403901" y="1235734"/>
                    <a:pt x="405195" y="1261428"/>
                  </a:cubicBezTo>
                  <a:cubicBezTo>
                    <a:pt x="386895" y="1277048"/>
                    <a:pt x="364620" y="1295164"/>
                    <a:pt x="347244" y="1309028"/>
                  </a:cubicBezTo>
                  <a:cubicBezTo>
                    <a:pt x="217293" y="1413931"/>
                    <a:pt x="0" y="1589448"/>
                    <a:pt x="0" y="1875691"/>
                  </a:cubicBezTo>
                  <a:cubicBezTo>
                    <a:pt x="0" y="2161749"/>
                    <a:pt x="217478" y="2337266"/>
                    <a:pt x="347244" y="2442261"/>
                  </a:cubicBezTo>
                  <a:cubicBezTo>
                    <a:pt x="364620" y="2456218"/>
                    <a:pt x="386895" y="2474241"/>
                    <a:pt x="405195" y="2489861"/>
                  </a:cubicBezTo>
                  <a:cubicBezTo>
                    <a:pt x="403901" y="2515370"/>
                    <a:pt x="400851" y="2547257"/>
                    <a:pt x="398540" y="2571196"/>
                  </a:cubicBezTo>
                  <a:cubicBezTo>
                    <a:pt x="382181" y="2743662"/>
                    <a:pt x="356949" y="3004580"/>
                    <a:pt x="557513" y="3201817"/>
                  </a:cubicBezTo>
                  <a:cubicBezTo>
                    <a:pt x="670550" y="3312913"/>
                    <a:pt x="824531" y="3369570"/>
                    <a:pt x="1016592" y="3369293"/>
                  </a:cubicBezTo>
                  <a:cubicBezTo>
                    <a:pt x="1081013" y="3369293"/>
                    <a:pt x="1142754" y="3363563"/>
                    <a:pt x="1197470" y="3358387"/>
                  </a:cubicBezTo>
                  <a:cubicBezTo>
                    <a:pt x="1227231" y="3355706"/>
                    <a:pt x="1255790" y="3353026"/>
                    <a:pt x="1280191" y="3351732"/>
                  </a:cubicBezTo>
                  <a:cubicBezTo>
                    <a:pt x="1295996" y="3369663"/>
                    <a:pt x="1314481" y="3391753"/>
                    <a:pt x="1328437" y="3408759"/>
                  </a:cubicBezTo>
                  <a:cubicBezTo>
                    <a:pt x="1435004" y="3536861"/>
                    <a:pt x="1612739" y="3751012"/>
                    <a:pt x="1903419" y="3751012"/>
                  </a:cubicBezTo>
                  <a:cubicBezTo>
                    <a:pt x="2194098" y="3751012"/>
                    <a:pt x="2371648" y="3536584"/>
                    <a:pt x="2478400" y="3408759"/>
                  </a:cubicBezTo>
                  <a:cubicBezTo>
                    <a:pt x="2492356" y="3391753"/>
                    <a:pt x="2510841" y="3369478"/>
                    <a:pt x="2526646" y="3351732"/>
                  </a:cubicBezTo>
                  <a:cubicBezTo>
                    <a:pt x="2551047" y="3352841"/>
                    <a:pt x="2579237" y="3355706"/>
                    <a:pt x="2609552" y="3358387"/>
                  </a:cubicBezTo>
                  <a:cubicBezTo>
                    <a:pt x="2663899" y="3363378"/>
                    <a:pt x="2725824" y="3369293"/>
                    <a:pt x="2790245" y="3369293"/>
                  </a:cubicBezTo>
                  <a:cubicBezTo>
                    <a:pt x="2982121" y="3369293"/>
                    <a:pt x="3136564" y="3312913"/>
                    <a:pt x="3249139" y="3202002"/>
                  </a:cubicBezTo>
                  <a:cubicBezTo>
                    <a:pt x="3449611" y="3004580"/>
                    <a:pt x="3424656" y="2743662"/>
                    <a:pt x="3408297" y="2571196"/>
                  </a:cubicBezTo>
                  <a:cubicBezTo>
                    <a:pt x="3405986" y="2547165"/>
                    <a:pt x="3402936" y="2515370"/>
                    <a:pt x="3401642" y="2489861"/>
                  </a:cubicBezTo>
                  <a:cubicBezTo>
                    <a:pt x="3419942" y="2474241"/>
                    <a:pt x="3442217" y="2456125"/>
                    <a:pt x="3459778" y="2442261"/>
                  </a:cubicBezTo>
                  <a:cubicBezTo>
                    <a:pt x="3589544" y="2337450"/>
                    <a:pt x="3806837" y="2161934"/>
                    <a:pt x="3806837" y="1875691"/>
                  </a:cubicBezTo>
                  <a:cubicBezTo>
                    <a:pt x="3806652" y="1589448"/>
                    <a:pt x="3589359" y="1414116"/>
                    <a:pt x="3459593" y="1309120"/>
                  </a:cubicBezTo>
                  <a:close/>
                  <a:moveTo>
                    <a:pt x="3030830" y="2335972"/>
                  </a:moveTo>
                  <a:cubicBezTo>
                    <a:pt x="2961880" y="2500675"/>
                    <a:pt x="3098855" y="2806142"/>
                    <a:pt x="2973063" y="2929993"/>
                  </a:cubicBezTo>
                  <a:cubicBezTo>
                    <a:pt x="2929438" y="2973063"/>
                    <a:pt x="2864093" y="2984894"/>
                    <a:pt x="2790060" y="2984894"/>
                  </a:cubicBezTo>
                  <a:cubicBezTo>
                    <a:pt x="2698374" y="2984894"/>
                    <a:pt x="2593378" y="2966593"/>
                    <a:pt x="2501506" y="2966593"/>
                  </a:cubicBezTo>
                  <a:cubicBezTo>
                    <a:pt x="2452705" y="2966593"/>
                    <a:pt x="2408156" y="2971585"/>
                    <a:pt x="2370354" y="2987020"/>
                  </a:cubicBezTo>
                  <a:cubicBezTo>
                    <a:pt x="2209348" y="3052919"/>
                    <a:pt x="2088455" y="3366890"/>
                    <a:pt x="1903419" y="3366890"/>
                  </a:cubicBezTo>
                  <a:cubicBezTo>
                    <a:pt x="1718382" y="3366890"/>
                    <a:pt x="1597581" y="3053012"/>
                    <a:pt x="1436483" y="2987020"/>
                  </a:cubicBezTo>
                  <a:cubicBezTo>
                    <a:pt x="1398958" y="2971585"/>
                    <a:pt x="1353762" y="2966593"/>
                    <a:pt x="1305331" y="2966593"/>
                  </a:cubicBezTo>
                  <a:cubicBezTo>
                    <a:pt x="1213644" y="2966593"/>
                    <a:pt x="1108833" y="2984894"/>
                    <a:pt x="1016777" y="2984894"/>
                  </a:cubicBezTo>
                  <a:cubicBezTo>
                    <a:pt x="942836" y="2984894"/>
                    <a:pt x="877491" y="2973063"/>
                    <a:pt x="833589" y="2929993"/>
                  </a:cubicBezTo>
                  <a:cubicBezTo>
                    <a:pt x="707982" y="2806142"/>
                    <a:pt x="845235" y="2500582"/>
                    <a:pt x="776008" y="2335972"/>
                  </a:cubicBezTo>
                  <a:cubicBezTo>
                    <a:pt x="709091" y="2177184"/>
                    <a:pt x="390314" y="2058324"/>
                    <a:pt x="390314" y="1875691"/>
                  </a:cubicBezTo>
                  <a:cubicBezTo>
                    <a:pt x="390314" y="1693057"/>
                    <a:pt x="709369" y="1574198"/>
                    <a:pt x="776008" y="1415225"/>
                  </a:cubicBezTo>
                  <a:cubicBezTo>
                    <a:pt x="844957" y="1250522"/>
                    <a:pt x="707982" y="945055"/>
                    <a:pt x="833589" y="821204"/>
                  </a:cubicBezTo>
                  <a:cubicBezTo>
                    <a:pt x="877214" y="778134"/>
                    <a:pt x="942836" y="766303"/>
                    <a:pt x="1016777" y="766303"/>
                  </a:cubicBezTo>
                  <a:cubicBezTo>
                    <a:pt x="1108648" y="766303"/>
                    <a:pt x="1213459" y="784603"/>
                    <a:pt x="1305331" y="784603"/>
                  </a:cubicBezTo>
                  <a:cubicBezTo>
                    <a:pt x="1354316" y="784603"/>
                    <a:pt x="1398866" y="779612"/>
                    <a:pt x="1436483" y="764177"/>
                  </a:cubicBezTo>
                  <a:cubicBezTo>
                    <a:pt x="1597489" y="698278"/>
                    <a:pt x="1718382" y="384307"/>
                    <a:pt x="1903419" y="384307"/>
                  </a:cubicBezTo>
                  <a:cubicBezTo>
                    <a:pt x="2088455" y="384307"/>
                    <a:pt x="2209256" y="698185"/>
                    <a:pt x="2370354" y="764177"/>
                  </a:cubicBezTo>
                  <a:cubicBezTo>
                    <a:pt x="2408064" y="779612"/>
                    <a:pt x="2453075" y="784603"/>
                    <a:pt x="2501506" y="784603"/>
                  </a:cubicBezTo>
                  <a:cubicBezTo>
                    <a:pt x="2593193" y="784603"/>
                    <a:pt x="2698189" y="766303"/>
                    <a:pt x="2790060" y="766303"/>
                  </a:cubicBezTo>
                  <a:cubicBezTo>
                    <a:pt x="2864001" y="766303"/>
                    <a:pt x="2929346" y="778134"/>
                    <a:pt x="2973248" y="821204"/>
                  </a:cubicBezTo>
                  <a:cubicBezTo>
                    <a:pt x="3098855" y="945055"/>
                    <a:pt x="2961602" y="1250615"/>
                    <a:pt x="3030830" y="1415225"/>
                  </a:cubicBezTo>
                  <a:cubicBezTo>
                    <a:pt x="3097746" y="1574013"/>
                    <a:pt x="3416522" y="1692872"/>
                    <a:pt x="3416522" y="1875691"/>
                  </a:cubicBezTo>
                  <a:cubicBezTo>
                    <a:pt x="3416708" y="2058232"/>
                    <a:pt x="3097653" y="2177184"/>
                    <a:pt x="3030830" y="2335972"/>
                  </a:cubicBezTo>
                  <a:close/>
                </a:path>
              </a:pathLst>
            </a:custGeom>
            <a:grpFill/>
            <a:ln w="9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EDE42461-D67F-2059-43ED-C1B383F621C1}"/>
              </a:ext>
            </a:extLst>
          </p:cNvPr>
          <p:cNvSpPr/>
          <p:nvPr/>
        </p:nvSpPr>
        <p:spPr bwMode="gray">
          <a:xfrm flipH="1">
            <a:off x="6115509" y="1772994"/>
            <a:ext cx="2034908" cy="2071280"/>
          </a:xfrm>
          <a:custGeom>
            <a:avLst/>
            <a:gdLst>
              <a:gd name="connsiteX0" fmla="*/ 2034440 w 2034908"/>
              <a:gd name="connsiteY0" fmla="*/ 0 h 2071280"/>
              <a:gd name="connsiteX1" fmla="*/ 1844060 w 2034908"/>
              <a:gd name="connsiteY1" fmla="*/ 9613 h 2071280"/>
              <a:gd name="connsiteX2" fmla="*/ 7639 w 2034908"/>
              <a:gd name="connsiteY2" fmla="*/ 1846034 h 2071280"/>
              <a:gd name="connsiteX3" fmla="*/ 0 w 2034908"/>
              <a:gd name="connsiteY3" fmla="*/ 1997301 h 2071280"/>
              <a:gd name="connsiteX4" fmla="*/ 201725 w 2034908"/>
              <a:gd name="connsiteY4" fmla="*/ 2071280 h 2071280"/>
              <a:gd name="connsiteX5" fmla="*/ 394324 w 2034908"/>
              <a:gd name="connsiteY5" fmla="*/ 2000648 h 2071280"/>
              <a:gd name="connsiteX6" fmla="*/ 400095 w 2034908"/>
              <a:gd name="connsiteY6" fmla="*/ 1886368 h 2071280"/>
              <a:gd name="connsiteX7" fmla="*/ 1884394 w 2034908"/>
              <a:gd name="connsiteY7" fmla="*/ 402069 h 2071280"/>
              <a:gd name="connsiteX8" fmla="*/ 2034908 w 2034908"/>
              <a:gd name="connsiteY8" fmla="*/ 394469 h 2071280"/>
              <a:gd name="connsiteX9" fmla="*/ 1962342 w 2034908"/>
              <a:gd name="connsiteY9" fmla="*/ 196597 h 2071280"/>
              <a:gd name="connsiteX10" fmla="*/ 2034440 w 2034908"/>
              <a:gd name="connsiteY10" fmla="*/ 0 h 207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34908" h="2071280">
                <a:moveTo>
                  <a:pt x="2034440" y="0"/>
                </a:moveTo>
                <a:lnTo>
                  <a:pt x="1844060" y="9613"/>
                </a:lnTo>
                <a:cubicBezTo>
                  <a:pt x="875767" y="107949"/>
                  <a:pt x="105974" y="877741"/>
                  <a:pt x="7639" y="1846034"/>
                </a:cubicBezTo>
                <a:lnTo>
                  <a:pt x="0" y="1997301"/>
                </a:lnTo>
                <a:lnTo>
                  <a:pt x="201725" y="2071280"/>
                </a:lnTo>
                <a:lnTo>
                  <a:pt x="394324" y="2000648"/>
                </a:lnTo>
                <a:lnTo>
                  <a:pt x="400095" y="1886368"/>
                </a:lnTo>
                <a:cubicBezTo>
                  <a:pt x="479575" y="1103740"/>
                  <a:pt x="1101765" y="481550"/>
                  <a:pt x="1884394" y="402069"/>
                </a:cubicBezTo>
                <a:lnTo>
                  <a:pt x="2034908" y="394469"/>
                </a:lnTo>
                <a:lnTo>
                  <a:pt x="1962342" y="196597"/>
                </a:lnTo>
                <a:lnTo>
                  <a:pt x="20344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5CC54EC-0422-E645-B383-362C72B6DE88}"/>
              </a:ext>
            </a:extLst>
          </p:cNvPr>
          <p:cNvSpPr/>
          <p:nvPr/>
        </p:nvSpPr>
        <p:spPr bwMode="gray">
          <a:xfrm flipH="1">
            <a:off x="6080953" y="3846547"/>
            <a:ext cx="2071581" cy="2037436"/>
          </a:xfrm>
          <a:custGeom>
            <a:avLst/>
            <a:gdLst>
              <a:gd name="connsiteX0" fmla="*/ 0 w 2071581"/>
              <a:gd name="connsiteY0" fmla="*/ 0 h 2037436"/>
              <a:gd name="connsiteX1" fmla="*/ 9756 w 2071581"/>
              <a:gd name="connsiteY1" fmla="*/ 193195 h 2037436"/>
              <a:gd name="connsiteX2" fmla="*/ 1846177 w 2071581"/>
              <a:gd name="connsiteY2" fmla="*/ 2029616 h 2037436"/>
              <a:gd name="connsiteX3" fmla="*/ 2001035 w 2071581"/>
              <a:gd name="connsiteY3" fmla="*/ 2037436 h 2037436"/>
              <a:gd name="connsiteX4" fmla="*/ 2071581 w 2071581"/>
              <a:gd name="connsiteY4" fmla="*/ 1845071 h 2037436"/>
              <a:gd name="connsiteX5" fmla="*/ 1997387 w 2071581"/>
              <a:gd name="connsiteY5" fmla="*/ 1642759 h 2037436"/>
              <a:gd name="connsiteX6" fmla="*/ 1886511 w 2071581"/>
              <a:gd name="connsiteY6" fmla="*/ 1637160 h 2037436"/>
              <a:gd name="connsiteX7" fmla="*/ 402212 w 2071581"/>
              <a:gd name="connsiteY7" fmla="*/ 152861 h 2037436"/>
              <a:gd name="connsiteX8" fmla="*/ 394733 w 2071581"/>
              <a:gd name="connsiteY8" fmla="*/ 4749 h 2037436"/>
              <a:gd name="connsiteX9" fmla="*/ 203842 w 2071581"/>
              <a:gd name="connsiteY9" fmla="*/ 74755 h 2037436"/>
              <a:gd name="connsiteX10" fmla="*/ 0 w 2071581"/>
              <a:gd name="connsiteY10" fmla="*/ 0 h 203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71581" h="2037436">
                <a:moveTo>
                  <a:pt x="0" y="0"/>
                </a:moveTo>
                <a:lnTo>
                  <a:pt x="9756" y="193195"/>
                </a:lnTo>
                <a:cubicBezTo>
                  <a:pt x="108091" y="1161488"/>
                  <a:pt x="877884" y="1931281"/>
                  <a:pt x="1846177" y="2029616"/>
                </a:cubicBezTo>
                <a:lnTo>
                  <a:pt x="2001035" y="2037436"/>
                </a:lnTo>
                <a:lnTo>
                  <a:pt x="2071581" y="1845071"/>
                </a:lnTo>
                <a:lnTo>
                  <a:pt x="1997387" y="1642759"/>
                </a:lnTo>
                <a:lnTo>
                  <a:pt x="1886511" y="1637160"/>
                </a:lnTo>
                <a:cubicBezTo>
                  <a:pt x="1103882" y="1557680"/>
                  <a:pt x="481692" y="935489"/>
                  <a:pt x="402212" y="152861"/>
                </a:cubicBezTo>
                <a:lnTo>
                  <a:pt x="394733" y="4749"/>
                </a:lnTo>
                <a:lnTo>
                  <a:pt x="203842" y="747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3A33E9D-ABA9-F97E-A13E-3C8A7691BFDD}"/>
              </a:ext>
            </a:extLst>
          </p:cNvPr>
          <p:cNvGrpSpPr/>
          <p:nvPr/>
        </p:nvGrpSpPr>
        <p:grpSpPr>
          <a:xfrm>
            <a:off x="8440670" y="4148720"/>
            <a:ext cx="2700000" cy="2020489"/>
            <a:chOff x="8440670" y="3861048"/>
            <a:chExt cx="2700000" cy="2020489"/>
          </a:xfrm>
        </p:grpSpPr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7F1FA521-9C42-56F6-0C5B-F3B88ED591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670" y="4605483"/>
              <a:ext cx="2700000" cy="127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de-DE" b="1" dirty="0"/>
                <a:t>Nur bei uns: Krebs-Scan!</a:t>
              </a:r>
              <a:br>
                <a:rPr lang="de-DE" b="1" dirty="0"/>
              </a:br>
              <a:r>
                <a:rPr lang="de-DE" dirty="0"/>
                <a:t>Die Innovation in der Krebsfrüherkennung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524E8E6-D716-06FE-6BF3-06D66D20F4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40670" y="3861048"/>
              <a:ext cx="577931" cy="576000"/>
              <a:chOff x="13805798" y="3763828"/>
              <a:chExt cx="540661" cy="538855"/>
            </a:xfrm>
            <a:solidFill>
              <a:schemeClr val="accent3"/>
            </a:solidFill>
          </p:grpSpPr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D322B0AC-44B7-2664-E1D6-2C8FD3A5DED9}"/>
                  </a:ext>
                </a:extLst>
              </p:cNvPr>
              <p:cNvSpPr/>
              <p:nvPr/>
            </p:nvSpPr>
            <p:spPr bwMode="gray">
              <a:xfrm>
                <a:off x="13805798" y="3763828"/>
                <a:ext cx="377999" cy="378000"/>
              </a:xfrm>
              <a:custGeom>
                <a:avLst/>
                <a:gdLst>
                  <a:gd name="connsiteX0" fmla="*/ 1567339 w 3133725"/>
                  <a:gd name="connsiteY0" fmla="*/ 3134106 h 3133725"/>
                  <a:gd name="connsiteX1" fmla="*/ 0 w 3133725"/>
                  <a:gd name="connsiteY1" fmla="*/ 1567434 h 3133725"/>
                  <a:gd name="connsiteX2" fmla="*/ 1567339 w 3133725"/>
                  <a:gd name="connsiteY2" fmla="*/ 0 h 3133725"/>
                  <a:gd name="connsiteX3" fmla="*/ 3134963 w 3133725"/>
                  <a:gd name="connsiteY3" fmla="*/ 1567434 h 3133725"/>
                  <a:gd name="connsiteX4" fmla="*/ 1567339 w 3133725"/>
                  <a:gd name="connsiteY4" fmla="*/ 3134106 h 3133725"/>
                  <a:gd name="connsiteX5" fmla="*/ 1567339 w 3133725"/>
                  <a:gd name="connsiteY5" fmla="*/ 277844 h 3133725"/>
                  <a:gd name="connsiteX6" fmla="*/ 277844 w 3133725"/>
                  <a:gd name="connsiteY6" fmla="*/ 1567434 h 3133725"/>
                  <a:gd name="connsiteX7" fmla="*/ 1567339 w 3133725"/>
                  <a:gd name="connsiteY7" fmla="*/ 2856166 h 3133725"/>
                  <a:gd name="connsiteX8" fmla="*/ 2857119 w 3133725"/>
                  <a:gd name="connsiteY8" fmla="*/ 1567434 h 3133725"/>
                  <a:gd name="connsiteX9" fmla="*/ 1567339 w 3133725"/>
                  <a:gd name="connsiteY9" fmla="*/ 277844 h 3133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33725" h="3133725">
                    <a:moveTo>
                      <a:pt x="1567339" y="3134106"/>
                    </a:moveTo>
                    <a:cubicBezTo>
                      <a:pt x="703136" y="3134106"/>
                      <a:pt x="0" y="2431352"/>
                      <a:pt x="0" y="1567434"/>
                    </a:cubicBezTo>
                    <a:cubicBezTo>
                      <a:pt x="0" y="703136"/>
                      <a:pt x="703136" y="0"/>
                      <a:pt x="1567339" y="0"/>
                    </a:cubicBezTo>
                    <a:cubicBezTo>
                      <a:pt x="2431828" y="0"/>
                      <a:pt x="3134963" y="703136"/>
                      <a:pt x="3134963" y="1567434"/>
                    </a:cubicBezTo>
                    <a:cubicBezTo>
                      <a:pt x="3134963" y="2431352"/>
                      <a:pt x="2431828" y="3134106"/>
                      <a:pt x="1567339" y="3134106"/>
                    </a:cubicBezTo>
                    <a:close/>
                    <a:moveTo>
                      <a:pt x="1567339" y="277844"/>
                    </a:moveTo>
                    <a:cubicBezTo>
                      <a:pt x="856298" y="277844"/>
                      <a:pt x="277844" y="856393"/>
                      <a:pt x="277844" y="1567434"/>
                    </a:cubicBezTo>
                    <a:cubicBezTo>
                      <a:pt x="277844" y="2278094"/>
                      <a:pt x="856202" y="2856166"/>
                      <a:pt x="1567339" y="2856166"/>
                    </a:cubicBezTo>
                    <a:cubicBezTo>
                      <a:pt x="2278571" y="2856166"/>
                      <a:pt x="2857119" y="2278094"/>
                      <a:pt x="2857119" y="1567434"/>
                    </a:cubicBezTo>
                    <a:cubicBezTo>
                      <a:pt x="2857024" y="856393"/>
                      <a:pt x="2278571" y="277844"/>
                      <a:pt x="1567339" y="2778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739637F5-E3C8-9F57-4349-EC3E4A8E90A5}"/>
                  </a:ext>
                </a:extLst>
              </p:cNvPr>
              <p:cNvSpPr/>
              <p:nvPr/>
            </p:nvSpPr>
            <p:spPr bwMode="gray">
              <a:xfrm>
                <a:off x="14117821" y="4074045"/>
                <a:ext cx="228638" cy="228638"/>
              </a:xfrm>
              <a:custGeom>
                <a:avLst/>
                <a:gdLst>
                  <a:gd name="connsiteX0" fmla="*/ 0 w 1895475"/>
                  <a:gd name="connsiteY0" fmla="*/ 589641 h 1895475"/>
                  <a:gd name="connsiteX1" fmla="*/ 589224 w 1895475"/>
                  <a:gd name="connsiteY1" fmla="*/ 0 h 1895475"/>
                  <a:gd name="connsiteX2" fmla="*/ 1901784 w 1895475"/>
                  <a:gd name="connsiteY2" fmla="*/ 1311632 h 1895475"/>
                  <a:gd name="connsiteX3" fmla="*/ 1312559 w 1895475"/>
                  <a:gd name="connsiteY3" fmla="*/ 1901273 h 189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5475" h="1895475">
                    <a:moveTo>
                      <a:pt x="0" y="589641"/>
                    </a:moveTo>
                    <a:lnTo>
                      <a:pt x="589224" y="0"/>
                    </a:lnTo>
                    <a:lnTo>
                      <a:pt x="1901784" y="1311632"/>
                    </a:lnTo>
                    <a:lnTo>
                      <a:pt x="1312559" y="19012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9FC77B2B-4244-CA4C-0142-3B83C483CFA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3904797" y="3862828"/>
                <a:ext cx="180000" cy="180000"/>
              </a:xfrm>
              <a:custGeom>
                <a:avLst/>
                <a:gdLst>
                  <a:gd name="connsiteX0" fmla="*/ 862203 w 2800350"/>
                  <a:gd name="connsiteY0" fmla="*/ 2805017 h 2800350"/>
                  <a:gd name="connsiteX1" fmla="*/ 1928431 w 2800350"/>
                  <a:gd name="connsiteY1" fmla="*/ 2805017 h 2800350"/>
                  <a:gd name="connsiteX2" fmla="*/ 1928431 w 2800350"/>
                  <a:gd name="connsiteY2" fmla="*/ 1928431 h 2800350"/>
                  <a:gd name="connsiteX3" fmla="*/ 2805017 w 2800350"/>
                  <a:gd name="connsiteY3" fmla="*/ 1928431 h 2800350"/>
                  <a:gd name="connsiteX4" fmla="*/ 2805017 w 2800350"/>
                  <a:gd name="connsiteY4" fmla="*/ 876586 h 2800350"/>
                  <a:gd name="connsiteX5" fmla="*/ 1928431 w 2800350"/>
                  <a:gd name="connsiteY5" fmla="*/ 876586 h 2800350"/>
                  <a:gd name="connsiteX6" fmla="*/ 1928431 w 2800350"/>
                  <a:gd name="connsiteY6" fmla="*/ 0 h 2800350"/>
                  <a:gd name="connsiteX7" fmla="*/ 876586 w 2800350"/>
                  <a:gd name="connsiteY7" fmla="*/ 0 h 2800350"/>
                  <a:gd name="connsiteX8" fmla="*/ 876586 w 2800350"/>
                  <a:gd name="connsiteY8" fmla="*/ 876586 h 2800350"/>
                  <a:gd name="connsiteX9" fmla="*/ 0 w 2800350"/>
                  <a:gd name="connsiteY9" fmla="*/ 876586 h 2800350"/>
                  <a:gd name="connsiteX10" fmla="*/ 0 w 2800350"/>
                  <a:gd name="connsiteY10" fmla="*/ 1928431 h 2800350"/>
                  <a:gd name="connsiteX11" fmla="*/ 862203 w 2800350"/>
                  <a:gd name="connsiteY11" fmla="*/ 1928431 h 280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0350" h="2800350">
                    <a:moveTo>
                      <a:pt x="862203" y="2805017"/>
                    </a:moveTo>
                    <a:lnTo>
                      <a:pt x="1928431" y="2805017"/>
                    </a:lnTo>
                    <a:lnTo>
                      <a:pt x="1928431" y="1928431"/>
                    </a:lnTo>
                    <a:lnTo>
                      <a:pt x="2805017" y="1928431"/>
                    </a:lnTo>
                    <a:lnTo>
                      <a:pt x="2805017" y="876586"/>
                    </a:lnTo>
                    <a:lnTo>
                      <a:pt x="1928431" y="876586"/>
                    </a:lnTo>
                    <a:lnTo>
                      <a:pt x="1928431" y="0"/>
                    </a:lnTo>
                    <a:lnTo>
                      <a:pt x="876586" y="0"/>
                    </a:lnTo>
                    <a:lnTo>
                      <a:pt x="876586" y="876586"/>
                    </a:lnTo>
                    <a:lnTo>
                      <a:pt x="0" y="876586"/>
                    </a:lnTo>
                    <a:lnTo>
                      <a:pt x="0" y="1928431"/>
                    </a:lnTo>
                    <a:lnTo>
                      <a:pt x="862203" y="192843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2D2C082-8454-A818-523A-C2C75AE6D67B}"/>
              </a:ext>
            </a:extLst>
          </p:cNvPr>
          <p:cNvSpPr/>
          <p:nvPr/>
        </p:nvSpPr>
        <p:spPr bwMode="gray">
          <a:xfrm flipH="1">
            <a:off x="4041744" y="3814180"/>
            <a:ext cx="2035625" cy="2071551"/>
          </a:xfrm>
          <a:custGeom>
            <a:avLst/>
            <a:gdLst>
              <a:gd name="connsiteX0" fmla="*/ 1824382 w 2035625"/>
              <a:gd name="connsiteY0" fmla="*/ 0 h 2071551"/>
              <a:gd name="connsiteX1" fmla="*/ 1641660 w 2035625"/>
              <a:gd name="connsiteY1" fmla="*/ 67010 h 2071551"/>
              <a:gd name="connsiteX2" fmla="*/ 1635691 w 2035625"/>
              <a:gd name="connsiteY2" fmla="*/ 185228 h 2071551"/>
              <a:gd name="connsiteX3" fmla="*/ 151392 w 2035625"/>
              <a:gd name="connsiteY3" fmla="*/ 1669527 h 2071551"/>
              <a:gd name="connsiteX4" fmla="*/ 0 w 2035625"/>
              <a:gd name="connsiteY4" fmla="*/ 1677172 h 2071551"/>
              <a:gd name="connsiteX5" fmla="*/ 73444 w 2035625"/>
              <a:gd name="connsiteY5" fmla="*/ 1877438 h 2071551"/>
              <a:gd name="connsiteX6" fmla="*/ 2257 w 2035625"/>
              <a:gd name="connsiteY6" fmla="*/ 2071551 h 2071551"/>
              <a:gd name="connsiteX7" fmla="*/ 191726 w 2035625"/>
              <a:gd name="connsiteY7" fmla="*/ 2061983 h 2071551"/>
              <a:gd name="connsiteX8" fmla="*/ 2028147 w 2035625"/>
              <a:gd name="connsiteY8" fmla="*/ 225562 h 2071551"/>
              <a:gd name="connsiteX9" fmla="*/ 2035625 w 2035625"/>
              <a:gd name="connsiteY9" fmla="*/ 77469 h 2071551"/>
              <a:gd name="connsiteX10" fmla="*/ 1824382 w 2035625"/>
              <a:gd name="connsiteY10" fmla="*/ 0 h 2071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35625" h="2071551">
                <a:moveTo>
                  <a:pt x="1824382" y="0"/>
                </a:moveTo>
                <a:lnTo>
                  <a:pt x="1641660" y="67010"/>
                </a:lnTo>
                <a:lnTo>
                  <a:pt x="1635691" y="185228"/>
                </a:lnTo>
                <a:cubicBezTo>
                  <a:pt x="1556211" y="967856"/>
                  <a:pt x="934021" y="1590047"/>
                  <a:pt x="151392" y="1669527"/>
                </a:cubicBezTo>
                <a:lnTo>
                  <a:pt x="0" y="1677172"/>
                </a:lnTo>
                <a:lnTo>
                  <a:pt x="73444" y="1877438"/>
                </a:lnTo>
                <a:lnTo>
                  <a:pt x="2257" y="2071551"/>
                </a:lnTo>
                <a:lnTo>
                  <a:pt x="191726" y="2061983"/>
                </a:lnTo>
                <a:cubicBezTo>
                  <a:pt x="1160019" y="1963648"/>
                  <a:pt x="1929812" y="1193855"/>
                  <a:pt x="2028147" y="225562"/>
                </a:cubicBezTo>
                <a:lnTo>
                  <a:pt x="2035625" y="77469"/>
                </a:lnTo>
                <a:lnTo>
                  <a:pt x="182438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387E0DF2-6666-1759-07DD-231AF2CC0F92}"/>
              </a:ext>
            </a:extLst>
          </p:cNvPr>
          <p:cNvGrpSpPr/>
          <p:nvPr/>
        </p:nvGrpSpPr>
        <p:grpSpPr>
          <a:xfrm>
            <a:off x="1076145" y="4138846"/>
            <a:ext cx="3142355" cy="2030363"/>
            <a:chOff x="1076145" y="3851174"/>
            <a:chExt cx="3142355" cy="2030363"/>
          </a:xfrm>
        </p:grpSpPr>
        <p:sp>
          <p:nvSpPr>
            <p:cNvPr id="23" name="TextBox 5">
              <a:extLst>
                <a:ext uri="{FF2B5EF4-FFF2-40B4-BE49-F238E27FC236}">
                  <a16:creationId xmlns:a16="http://schemas.microsoft.com/office/drawing/2014/main" id="{9781EC35-8779-E9DC-F802-CFFF15BD9A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76145" y="4605483"/>
              <a:ext cx="3142355" cy="127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600"/>
                </a:spcBef>
              </a:pPr>
              <a:r>
                <a:rPr lang="de-DE" b="1" dirty="0"/>
                <a:t>Top-Unterstützung </a:t>
              </a:r>
              <a:br>
                <a:rPr lang="de-DE" b="1" dirty="0"/>
              </a:br>
              <a:r>
                <a:rPr lang="de-DE" dirty="0"/>
                <a:t>durch meine persönliche Betreuung</a:t>
              </a:r>
            </a:p>
          </p:txBody>
        </p:sp>
        <p:grpSp>
          <p:nvGrpSpPr>
            <p:cNvPr id="25" name="Grafik 108">
              <a:extLst>
                <a:ext uri="{FF2B5EF4-FFF2-40B4-BE49-F238E27FC236}">
                  <a16:creationId xmlns:a16="http://schemas.microsoft.com/office/drawing/2014/main" id="{3FB0DE38-E5C2-A695-46E7-D370F0B11AD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15334" y="3851174"/>
              <a:ext cx="574270" cy="612000"/>
              <a:chOff x="3124200" y="261937"/>
              <a:chExt cx="5943600" cy="6334125"/>
            </a:xfrm>
            <a:solidFill>
              <a:schemeClr val="accent4"/>
            </a:solidFill>
          </p:grpSpPr>
          <p:sp>
            <p:nvSpPr>
              <p:cNvPr id="26" name="Freihandform: Form 110">
                <a:extLst>
                  <a:ext uri="{FF2B5EF4-FFF2-40B4-BE49-F238E27FC236}">
                    <a16:creationId xmlns:a16="http://schemas.microsoft.com/office/drawing/2014/main" id="{BDF3AFE6-E3CF-C498-DDC6-005418ED66C6}"/>
                  </a:ext>
                </a:extLst>
              </p:cNvPr>
              <p:cNvSpPr/>
              <p:nvPr/>
            </p:nvSpPr>
            <p:spPr bwMode="gray">
              <a:xfrm>
                <a:off x="6714744" y="1373219"/>
                <a:ext cx="361950" cy="361950"/>
              </a:xfrm>
              <a:custGeom>
                <a:avLst/>
                <a:gdLst>
                  <a:gd name="connsiteX0" fmla="*/ 361950 w 361950"/>
                  <a:gd name="connsiteY0" fmla="*/ 180975 h 361950"/>
                  <a:gd name="connsiteX1" fmla="*/ 180975 w 361950"/>
                  <a:gd name="connsiteY1" fmla="*/ 361950 h 361950"/>
                  <a:gd name="connsiteX2" fmla="*/ 0 w 361950"/>
                  <a:gd name="connsiteY2" fmla="*/ 180975 h 361950"/>
                  <a:gd name="connsiteX3" fmla="*/ 180975 w 361950"/>
                  <a:gd name="connsiteY3" fmla="*/ 0 h 361950"/>
                  <a:gd name="connsiteX4" fmla="*/ 361950 w 361950"/>
                  <a:gd name="connsiteY4" fmla="*/ 1809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950" h="361950">
                    <a:moveTo>
                      <a:pt x="361950" y="180975"/>
                    </a:moveTo>
                    <a:cubicBezTo>
                      <a:pt x="361950" y="280925"/>
                      <a:pt x="280925" y="361950"/>
                      <a:pt x="180975" y="361950"/>
                    </a:cubicBezTo>
                    <a:cubicBezTo>
                      <a:pt x="81025" y="361950"/>
                      <a:pt x="0" y="280925"/>
                      <a:pt x="0" y="180975"/>
                    </a:cubicBezTo>
                    <a:cubicBezTo>
                      <a:pt x="0" y="81025"/>
                      <a:pt x="81025" y="0"/>
                      <a:pt x="180975" y="0"/>
                    </a:cubicBezTo>
                    <a:cubicBezTo>
                      <a:pt x="280925" y="0"/>
                      <a:pt x="361950" y="81025"/>
                      <a:pt x="361950" y="180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: Form 111">
                <a:extLst>
                  <a:ext uri="{FF2B5EF4-FFF2-40B4-BE49-F238E27FC236}">
                    <a16:creationId xmlns:a16="http://schemas.microsoft.com/office/drawing/2014/main" id="{2416CE05-E039-54DA-C1F3-7E71451847B7}"/>
                  </a:ext>
                </a:extLst>
              </p:cNvPr>
              <p:cNvSpPr/>
              <p:nvPr/>
            </p:nvSpPr>
            <p:spPr bwMode="gray">
              <a:xfrm>
                <a:off x="7308437" y="1373219"/>
                <a:ext cx="361950" cy="361950"/>
              </a:xfrm>
              <a:custGeom>
                <a:avLst/>
                <a:gdLst>
                  <a:gd name="connsiteX0" fmla="*/ 361950 w 361950"/>
                  <a:gd name="connsiteY0" fmla="*/ 180975 h 361950"/>
                  <a:gd name="connsiteX1" fmla="*/ 180975 w 361950"/>
                  <a:gd name="connsiteY1" fmla="*/ 361950 h 361950"/>
                  <a:gd name="connsiteX2" fmla="*/ 0 w 361950"/>
                  <a:gd name="connsiteY2" fmla="*/ 180975 h 361950"/>
                  <a:gd name="connsiteX3" fmla="*/ 180975 w 361950"/>
                  <a:gd name="connsiteY3" fmla="*/ 0 h 361950"/>
                  <a:gd name="connsiteX4" fmla="*/ 361950 w 361950"/>
                  <a:gd name="connsiteY4" fmla="*/ 1809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950" h="361950">
                    <a:moveTo>
                      <a:pt x="361950" y="180975"/>
                    </a:moveTo>
                    <a:cubicBezTo>
                      <a:pt x="361950" y="280925"/>
                      <a:pt x="280925" y="361950"/>
                      <a:pt x="180975" y="361950"/>
                    </a:cubicBezTo>
                    <a:cubicBezTo>
                      <a:pt x="81025" y="361950"/>
                      <a:pt x="0" y="280925"/>
                      <a:pt x="0" y="180975"/>
                    </a:cubicBezTo>
                    <a:cubicBezTo>
                      <a:pt x="0" y="81025"/>
                      <a:pt x="81025" y="0"/>
                      <a:pt x="180975" y="0"/>
                    </a:cubicBezTo>
                    <a:cubicBezTo>
                      <a:pt x="280925" y="0"/>
                      <a:pt x="361950" y="81025"/>
                      <a:pt x="361950" y="180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: Form 120">
                <a:extLst>
                  <a:ext uri="{FF2B5EF4-FFF2-40B4-BE49-F238E27FC236}">
                    <a16:creationId xmlns:a16="http://schemas.microsoft.com/office/drawing/2014/main" id="{B9551172-6CBE-C852-C85B-F1DA4C3E6186}"/>
                  </a:ext>
                </a:extLst>
              </p:cNvPr>
              <p:cNvSpPr/>
              <p:nvPr/>
            </p:nvSpPr>
            <p:spPr bwMode="gray">
              <a:xfrm>
                <a:off x="7885462" y="1373219"/>
                <a:ext cx="361950" cy="361950"/>
              </a:xfrm>
              <a:custGeom>
                <a:avLst/>
                <a:gdLst>
                  <a:gd name="connsiteX0" fmla="*/ 361950 w 361950"/>
                  <a:gd name="connsiteY0" fmla="*/ 180975 h 361950"/>
                  <a:gd name="connsiteX1" fmla="*/ 180975 w 361950"/>
                  <a:gd name="connsiteY1" fmla="*/ 361950 h 361950"/>
                  <a:gd name="connsiteX2" fmla="*/ 0 w 361950"/>
                  <a:gd name="connsiteY2" fmla="*/ 180975 h 361950"/>
                  <a:gd name="connsiteX3" fmla="*/ 180975 w 361950"/>
                  <a:gd name="connsiteY3" fmla="*/ 0 h 361950"/>
                  <a:gd name="connsiteX4" fmla="*/ 361950 w 361950"/>
                  <a:gd name="connsiteY4" fmla="*/ 1809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950" h="361950">
                    <a:moveTo>
                      <a:pt x="361950" y="180975"/>
                    </a:moveTo>
                    <a:cubicBezTo>
                      <a:pt x="361950" y="280925"/>
                      <a:pt x="280925" y="361950"/>
                      <a:pt x="180975" y="361950"/>
                    </a:cubicBezTo>
                    <a:cubicBezTo>
                      <a:pt x="81025" y="361950"/>
                      <a:pt x="0" y="280925"/>
                      <a:pt x="0" y="180975"/>
                    </a:cubicBezTo>
                    <a:cubicBezTo>
                      <a:pt x="0" y="81025"/>
                      <a:pt x="81025" y="0"/>
                      <a:pt x="180975" y="0"/>
                    </a:cubicBezTo>
                    <a:cubicBezTo>
                      <a:pt x="280925" y="0"/>
                      <a:pt x="361950" y="81025"/>
                      <a:pt x="361950" y="180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2" name="Freihandform: Form 121">
                <a:extLst>
                  <a:ext uri="{FF2B5EF4-FFF2-40B4-BE49-F238E27FC236}">
                    <a16:creationId xmlns:a16="http://schemas.microsoft.com/office/drawing/2014/main" id="{D3F7D72D-7723-B8F5-3698-71920F476B21}"/>
                  </a:ext>
                </a:extLst>
              </p:cNvPr>
              <p:cNvSpPr/>
              <p:nvPr/>
            </p:nvSpPr>
            <p:spPr bwMode="gray">
              <a:xfrm>
                <a:off x="4021455" y="1709737"/>
                <a:ext cx="1447800" cy="1447800"/>
              </a:xfrm>
              <a:custGeom>
                <a:avLst/>
                <a:gdLst>
                  <a:gd name="connsiteX0" fmla="*/ 1447800 w 1447800"/>
                  <a:gd name="connsiteY0" fmla="*/ 723900 h 1447800"/>
                  <a:gd name="connsiteX1" fmla="*/ 723900 w 1447800"/>
                  <a:gd name="connsiteY1" fmla="*/ 1447800 h 1447800"/>
                  <a:gd name="connsiteX2" fmla="*/ 0 w 1447800"/>
                  <a:gd name="connsiteY2" fmla="*/ 723900 h 1447800"/>
                  <a:gd name="connsiteX3" fmla="*/ 723900 w 1447800"/>
                  <a:gd name="connsiteY3" fmla="*/ 0 h 1447800"/>
                  <a:gd name="connsiteX4" fmla="*/ 1447800 w 1447800"/>
                  <a:gd name="connsiteY4" fmla="*/ 723900 h 1447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7800" h="1447800">
                    <a:moveTo>
                      <a:pt x="1447800" y="723900"/>
                    </a:moveTo>
                    <a:cubicBezTo>
                      <a:pt x="1447800" y="1123699"/>
                      <a:pt x="1123699" y="1447800"/>
                      <a:pt x="723900" y="1447800"/>
                    </a:cubicBezTo>
                    <a:cubicBezTo>
                      <a:pt x="324101" y="1447800"/>
                      <a:pt x="0" y="1123699"/>
                      <a:pt x="0" y="723900"/>
                    </a:cubicBezTo>
                    <a:cubicBezTo>
                      <a:pt x="0" y="324101"/>
                      <a:pt x="324101" y="0"/>
                      <a:pt x="723900" y="0"/>
                    </a:cubicBezTo>
                    <a:cubicBezTo>
                      <a:pt x="1123699" y="0"/>
                      <a:pt x="1447800" y="324101"/>
                      <a:pt x="1447800" y="7239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4" name="Freihandform: Form 122">
                <a:extLst>
                  <a:ext uri="{FF2B5EF4-FFF2-40B4-BE49-F238E27FC236}">
                    <a16:creationId xmlns:a16="http://schemas.microsoft.com/office/drawing/2014/main" id="{28026D9F-AF3C-59D9-F35E-8C623EFBB225}"/>
                  </a:ext>
                </a:extLst>
              </p:cNvPr>
              <p:cNvSpPr/>
              <p:nvPr/>
            </p:nvSpPr>
            <p:spPr bwMode="gray">
              <a:xfrm>
                <a:off x="3124200" y="3519487"/>
                <a:ext cx="3257550" cy="3076575"/>
              </a:xfrm>
              <a:custGeom>
                <a:avLst/>
                <a:gdLst>
                  <a:gd name="connsiteX0" fmla="*/ 2259997 w 3257550"/>
                  <a:gd name="connsiteY0" fmla="*/ 0 h 3076575"/>
                  <a:gd name="connsiteX1" fmla="*/ 1628775 w 3257550"/>
                  <a:gd name="connsiteY1" fmla="*/ 0 h 3076575"/>
                  <a:gd name="connsiteX2" fmla="*/ 997553 w 3257550"/>
                  <a:gd name="connsiteY2" fmla="*/ 0 h 3076575"/>
                  <a:gd name="connsiteX3" fmla="*/ 0 w 3257550"/>
                  <a:gd name="connsiteY3" fmla="*/ 997553 h 3076575"/>
                  <a:gd name="connsiteX4" fmla="*/ 0 w 3257550"/>
                  <a:gd name="connsiteY4" fmla="*/ 3076575 h 3076575"/>
                  <a:gd name="connsiteX5" fmla="*/ 1085850 w 3257550"/>
                  <a:gd name="connsiteY5" fmla="*/ 3076575 h 3076575"/>
                  <a:gd name="connsiteX6" fmla="*/ 1086612 w 3257550"/>
                  <a:gd name="connsiteY6" fmla="*/ 1266825 h 3076575"/>
                  <a:gd name="connsiteX7" fmla="*/ 1266825 w 3257550"/>
                  <a:gd name="connsiteY7" fmla="*/ 1085850 h 3076575"/>
                  <a:gd name="connsiteX8" fmla="*/ 1628775 w 3257550"/>
                  <a:gd name="connsiteY8" fmla="*/ 1085850 h 3076575"/>
                  <a:gd name="connsiteX9" fmla="*/ 1990725 w 3257550"/>
                  <a:gd name="connsiteY9" fmla="*/ 1085850 h 3076575"/>
                  <a:gd name="connsiteX10" fmla="*/ 2170938 w 3257550"/>
                  <a:gd name="connsiteY10" fmla="*/ 1266825 h 3076575"/>
                  <a:gd name="connsiteX11" fmla="*/ 2171700 w 3257550"/>
                  <a:gd name="connsiteY11" fmla="*/ 3076575 h 3076575"/>
                  <a:gd name="connsiteX12" fmla="*/ 3257550 w 3257550"/>
                  <a:gd name="connsiteY12" fmla="*/ 3076575 h 3076575"/>
                  <a:gd name="connsiteX13" fmla="*/ 3257550 w 3257550"/>
                  <a:gd name="connsiteY13" fmla="*/ 997553 h 3076575"/>
                  <a:gd name="connsiteX14" fmla="*/ 2259997 w 3257550"/>
                  <a:gd name="connsiteY14" fmla="*/ 0 h 307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57550" h="3076575">
                    <a:moveTo>
                      <a:pt x="2259997" y="0"/>
                    </a:moveTo>
                    <a:lnTo>
                      <a:pt x="1628775" y="0"/>
                    </a:lnTo>
                    <a:lnTo>
                      <a:pt x="997553" y="0"/>
                    </a:lnTo>
                    <a:cubicBezTo>
                      <a:pt x="447580" y="0"/>
                      <a:pt x="0" y="447580"/>
                      <a:pt x="0" y="997553"/>
                    </a:cubicBezTo>
                    <a:lnTo>
                      <a:pt x="0" y="3076575"/>
                    </a:lnTo>
                    <a:lnTo>
                      <a:pt x="1085850" y="3076575"/>
                    </a:lnTo>
                    <a:cubicBezTo>
                      <a:pt x="1085850" y="3076575"/>
                      <a:pt x="1086612" y="1267015"/>
                      <a:pt x="1086612" y="1266825"/>
                    </a:cubicBezTo>
                    <a:cubicBezTo>
                      <a:pt x="1089660" y="1143000"/>
                      <a:pt x="1142333" y="1085850"/>
                      <a:pt x="1266825" y="1085850"/>
                    </a:cubicBezTo>
                    <a:cubicBezTo>
                      <a:pt x="1268063" y="1085850"/>
                      <a:pt x="1628775" y="1085850"/>
                      <a:pt x="1628775" y="1085850"/>
                    </a:cubicBezTo>
                    <a:cubicBezTo>
                      <a:pt x="1628775" y="1085850"/>
                      <a:pt x="1989677" y="1085850"/>
                      <a:pt x="1990725" y="1085850"/>
                    </a:cubicBezTo>
                    <a:cubicBezTo>
                      <a:pt x="2115217" y="1085850"/>
                      <a:pt x="2167890" y="1143000"/>
                      <a:pt x="2170938" y="1266825"/>
                    </a:cubicBezTo>
                    <a:cubicBezTo>
                      <a:pt x="2170938" y="1267015"/>
                      <a:pt x="2171700" y="3076575"/>
                      <a:pt x="2171700" y="3076575"/>
                    </a:cubicBezTo>
                    <a:lnTo>
                      <a:pt x="3257550" y="3076575"/>
                    </a:lnTo>
                    <a:lnTo>
                      <a:pt x="3257550" y="997553"/>
                    </a:lnTo>
                    <a:cubicBezTo>
                      <a:pt x="3257550" y="447580"/>
                      <a:pt x="2809970" y="0"/>
                      <a:pt x="225999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: Form 123">
                <a:extLst>
                  <a:ext uri="{FF2B5EF4-FFF2-40B4-BE49-F238E27FC236}">
                    <a16:creationId xmlns:a16="http://schemas.microsoft.com/office/drawing/2014/main" id="{20DB7049-A316-0961-DC77-8000047DAD76}"/>
                  </a:ext>
                </a:extLst>
              </p:cNvPr>
              <p:cNvSpPr/>
              <p:nvPr/>
            </p:nvSpPr>
            <p:spPr bwMode="gray">
              <a:xfrm>
                <a:off x="5838825" y="261888"/>
                <a:ext cx="3228975" cy="2714625"/>
              </a:xfrm>
              <a:custGeom>
                <a:avLst/>
                <a:gdLst>
                  <a:gd name="connsiteX0" fmla="*/ 2186845 w 3228975"/>
                  <a:gd name="connsiteY0" fmla="*/ 1001 h 2714625"/>
                  <a:gd name="connsiteX1" fmla="*/ 1039082 w 3228975"/>
                  <a:gd name="connsiteY1" fmla="*/ 430 h 2714625"/>
                  <a:gd name="connsiteX2" fmla="*/ 273177 w 3228975"/>
                  <a:gd name="connsiteY2" fmla="*/ 267320 h 2714625"/>
                  <a:gd name="connsiteX3" fmla="*/ 857 w 3228975"/>
                  <a:gd name="connsiteY3" fmla="*/ 1012747 h 2714625"/>
                  <a:gd name="connsiteX4" fmla="*/ 0 w 3228975"/>
                  <a:gd name="connsiteY4" fmla="*/ 2720294 h 2714625"/>
                  <a:gd name="connsiteX5" fmla="*/ 361950 w 3228975"/>
                  <a:gd name="connsiteY5" fmla="*/ 2358534 h 2714625"/>
                  <a:gd name="connsiteX6" fmla="*/ 362617 w 3228975"/>
                  <a:gd name="connsiteY6" fmla="*/ 1000174 h 2714625"/>
                  <a:gd name="connsiteX7" fmla="*/ 526542 w 3228975"/>
                  <a:gd name="connsiteY7" fmla="*/ 519352 h 2714625"/>
                  <a:gd name="connsiteX8" fmla="*/ 1032034 w 3228975"/>
                  <a:gd name="connsiteY8" fmla="*/ 359141 h 2714625"/>
                  <a:gd name="connsiteX9" fmla="*/ 2186845 w 3228975"/>
                  <a:gd name="connsiteY9" fmla="*/ 361332 h 2714625"/>
                  <a:gd name="connsiteX10" fmla="*/ 2869120 w 3228975"/>
                  <a:gd name="connsiteY10" fmla="*/ 1117426 h 2714625"/>
                  <a:gd name="connsiteX11" fmla="*/ 2185988 w 3228975"/>
                  <a:gd name="connsiteY11" fmla="*/ 1990774 h 2714625"/>
                  <a:gd name="connsiteX12" fmla="*/ 723900 w 3228975"/>
                  <a:gd name="connsiteY12" fmla="*/ 1990774 h 2714625"/>
                  <a:gd name="connsiteX13" fmla="*/ 723900 w 3228975"/>
                  <a:gd name="connsiteY13" fmla="*/ 2352724 h 2714625"/>
                  <a:gd name="connsiteX14" fmla="*/ 2185797 w 3228975"/>
                  <a:gd name="connsiteY14" fmla="*/ 2352724 h 2714625"/>
                  <a:gd name="connsiteX15" fmla="*/ 3230880 w 3228975"/>
                  <a:gd name="connsiteY15" fmla="*/ 1118093 h 2714625"/>
                  <a:gd name="connsiteX16" fmla="*/ 2186845 w 3228975"/>
                  <a:gd name="connsiteY16" fmla="*/ 1001 h 2714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28975" h="2714625">
                    <a:moveTo>
                      <a:pt x="2186845" y="1001"/>
                    </a:moveTo>
                    <a:lnTo>
                      <a:pt x="1039082" y="430"/>
                    </a:lnTo>
                    <a:cubicBezTo>
                      <a:pt x="718185" y="-7190"/>
                      <a:pt x="457295" y="86726"/>
                      <a:pt x="273177" y="267320"/>
                    </a:cubicBezTo>
                    <a:cubicBezTo>
                      <a:pt x="92393" y="444485"/>
                      <a:pt x="857" y="695469"/>
                      <a:pt x="857" y="1012747"/>
                    </a:cubicBezTo>
                    <a:lnTo>
                      <a:pt x="0" y="2720294"/>
                    </a:lnTo>
                    <a:lnTo>
                      <a:pt x="361950" y="2358534"/>
                    </a:lnTo>
                    <a:lnTo>
                      <a:pt x="362617" y="1000174"/>
                    </a:lnTo>
                    <a:cubicBezTo>
                      <a:pt x="362617" y="783575"/>
                      <a:pt x="417766" y="626127"/>
                      <a:pt x="526542" y="519352"/>
                    </a:cubicBezTo>
                    <a:cubicBezTo>
                      <a:pt x="639699" y="408385"/>
                      <a:pt x="816864" y="352474"/>
                      <a:pt x="1032034" y="359141"/>
                    </a:cubicBezTo>
                    <a:lnTo>
                      <a:pt x="2186845" y="361332"/>
                    </a:lnTo>
                    <a:cubicBezTo>
                      <a:pt x="2802541" y="361332"/>
                      <a:pt x="2869120" y="893589"/>
                      <a:pt x="2869120" y="1117426"/>
                    </a:cubicBezTo>
                    <a:cubicBezTo>
                      <a:pt x="2869120" y="1510904"/>
                      <a:pt x="2750439" y="1990774"/>
                      <a:pt x="2185988" y="1990774"/>
                    </a:cubicBezTo>
                    <a:cubicBezTo>
                      <a:pt x="1581340" y="1990774"/>
                      <a:pt x="723900" y="1990774"/>
                      <a:pt x="723900" y="1990774"/>
                    </a:cubicBezTo>
                    <a:lnTo>
                      <a:pt x="723900" y="2352724"/>
                    </a:lnTo>
                    <a:cubicBezTo>
                      <a:pt x="723900" y="2352724"/>
                      <a:pt x="1579912" y="2352724"/>
                      <a:pt x="2185797" y="2352724"/>
                    </a:cubicBezTo>
                    <a:cubicBezTo>
                      <a:pt x="2839974" y="2352724"/>
                      <a:pt x="3230880" y="1884760"/>
                      <a:pt x="3230880" y="1118093"/>
                    </a:cubicBezTo>
                    <a:cubicBezTo>
                      <a:pt x="3231070" y="607648"/>
                      <a:pt x="2957417" y="1001"/>
                      <a:pt x="2186845" y="10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4FB5BE8-A48C-7A09-355F-BCFC21BFF5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03265" y="268113"/>
            <a:ext cx="1227848" cy="153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49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5CDC93-5565-17A6-7081-0B18F343544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2100" y="6546850"/>
            <a:ext cx="469900" cy="119063"/>
          </a:xfrm>
        </p:spPr>
        <p:txBody>
          <a:bodyPr/>
          <a:lstStyle/>
          <a:p>
            <a:fld id="{77D899ED-E07B-4111-BFEA-7E6553FCF2CE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571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7D3564DE-BF91-9B0C-BBBE-F02ACAFB8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53" y="-1"/>
            <a:ext cx="12180094" cy="812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F44DCE-F370-6A5D-63F1-90966757D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99ED-E07B-4111-BFEA-7E6553FCF2C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918A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918A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491B919-A979-F8BF-276B-41CE857B5AC4}"/>
              </a:ext>
            </a:extLst>
          </p:cNvPr>
          <p:cNvSpPr/>
          <p:nvPr/>
        </p:nvSpPr>
        <p:spPr>
          <a:xfrm>
            <a:off x="6471138" y="4432663"/>
            <a:ext cx="5720862" cy="2686593"/>
          </a:xfrm>
          <a:prstGeom prst="rect">
            <a:avLst/>
          </a:prstGeom>
          <a:solidFill>
            <a:srgbClr val="F6EC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AFD1FA6-347B-61F0-2DCC-E54B9830FB0B}"/>
              </a:ext>
            </a:extLst>
          </p:cNvPr>
          <p:cNvSpPr txBox="1">
            <a:spLocks/>
          </p:cNvSpPr>
          <p:nvPr/>
        </p:nvSpPr>
        <p:spPr bwMode="gray">
          <a:xfrm>
            <a:off x="6925177" y="4708476"/>
            <a:ext cx="4812784" cy="7127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srgbClr val="00A075"/>
                </a:solidFill>
                <a:effectLst/>
                <a:uLnTx/>
                <a:uFillTx/>
                <a:ea typeface="+mj-ea"/>
                <a:cs typeface="+mj-cs"/>
              </a:rPr>
              <a:t>Backup </a:t>
            </a: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00A075"/>
                </a:solidFill>
                <a:effectLst/>
                <a:uLnTx/>
                <a:uFillTx/>
              </a:rPr>
              <a:t>Leistungsdetails</a:t>
            </a:r>
          </a:p>
        </p:txBody>
      </p:sp>
    </p:spTree>
    <p:extLst>
      <p:ext uri="{BB962C8B-B14F-4D97-AF65-F5344CB8AC3E}">
        <p14:creationId xmlns:p14="http://schemas.microsoft.com/office/powerpoint/2010/main" val="382122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6698CD43-8844-2B97-E7A0-7FAA3411C713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4219E8-8B66-6B3E-DECB-E5B9AF6EF981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7560B5B-FCCC-6C81-13F0-566D4E9D6022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BDB79EE-4217-2F28-8F77-9E2B97F004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3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FA5DAC3-A3A0-0010-41F4-99ADAF03F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dgettarife im Detail (1/2)</a:t>
            </a:r>
          </a:p>
        </p:txBody>
      </p:sp>
      <p:graphicFrame>
        <p:nvGraphicFramePr>
          <p:cNvPr id="5" name="Tabelle 6">
            <a:extLst>
              <a:ext uri="{FF2B5EF4-FFF2-40B4-BE49-F238E27FC236}">
                <a16:creationId xmlns:a16="http://schemas.microsoft.com/office/drawing/2014/main" id="{2009357D-E26F-D3B0-B0C4-6F2A9B656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791580"/>
              </p:ext>
            </p:extLst>
          </p:nvPr>
        </p:nvGraphicFramePr>
        <p:xfrm>
          <a:off x="400818" y="1481662"/>
          <a:ext cx="11376024" cy="49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2052">
                  <a:extLst>
                    <a:ext uri="{9D8B030D-6E8A-4147-A177-3AD203B41FA5}">
                      <a16:colId xmlns:a16="http://schemas.microsoft.com/office/drawing/2014/main" val="3080309871"/>
                    </a:ext>
                  </a:extLst>
                </a:gridCol>
                <a:gridCol w="1982912">
                  <a:extLst>
                    <a:ext uri="{9D8B030D-6E8A-4147-A177-3AD203B41FA5}">
                      <a16:colId xmlns:a16="http://schemas.microsoft.com/office/drawing/2014/main" val="4155211549"/>
                    </a:ext>
                  </a:extLst>
                </a:gridCol>
                <a:gridCol w="4677219">
                  <a:extLst>
                    <a:ext uri="{9D8B030D-6E8A-4147-A177-3AD203B41FA5}">
                      <a16:colId xmlns:a16="http://schemas.microsoft.com/office/drawing/2014/main" val="4107623111"/>
                    </a:ext>
                  </a:extLst>
                </a:gridCol>
                <a:gridCol w="2053618">
                  <a:extLst>
                    <a:ext uri="{9D8B030D-6E8A-4147-A177-3AD203B41FA5}">
                      <a16:colId xmlns:a16="http://schemas.microsoft.com/office/drawing/2014/main" val="1314905762"/>
                    </a:ext>
                  </a:extLst>
                </a:gridCol>
                <a:gridCol w="2090223">
                  <a:extLst>
                    <a:ext uri="{9D8B030D-6E8A-4147-A177-3AD203B41FA5}">
                      <a16:colId xmlns:a16="http://schemas.microsoft.com/office/drawing/2014/main" val="3109648820"/>
                    </a:ext>
                  </a:extLst>
                </a:gridCol>
              </a:tblGrid>
              <a:tr h="410295">
                <a:tc>
                  <a:txBody>
                    <a:bodyPr/>
                    <a:lstStyle/>
                    <a:p>
                      <a:r>
                        <a:rPr lang="de-DE" dirty="0"/>
                        <a:t>N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s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schreib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arif BK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arif BKB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685926"/>
                  </a:ext>
                </a:extLst>
              </a:tr>
              <a:tr h="653554">
                <a:tc>
                  <a:txBody>
                    <a:bodyPr/>
                    <a:lstStyle/>
                    <a:p>
                      <a:r>
                        <a:rPr lang="de-DE" sz="1000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Zahnersa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de-DE" sz="1000" dirty="0"/>
                        <a:t>Prothetische Leistungen inkl. Brücken, Kronen und Inlays, Narkose bei </a:t>
                      </a:r>
                      <a:r>
                        <a:rPr lang="de-DE" sz="1000" dirty="0" err="1"/>
                        <a:t>Implantatbehandlungen</a:t>
                      </a:r>
                      <a:endParaRPr lang="de-DE" sz="100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000" dirty="0" err="1"/>
                        <a:t>Implantologische</a:t>
                      </a:r>
                      <a:r>
                        <a:rPr lang="de-DE" sz="1000" dirty="0"/>
                        <a:t> Leistungen, </a:t>
                      </a:r>
                      <a:r>
                        <a:rPr lang="de-DE" sz="1000" dirty="0" err="1"/>
                        <a:t>Aufbissbehelfen</a:t>
                      </a:r>
                      <a:r>
                        <a:rPr lang="de-DE" sz="1000" dirty="0"/>
                        <a:t>, Schienen, Akupun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597364"/>
                  </a:ext>
                </a:extLst>
              </a:tr>
              <a:tr h="449048">
                <a:tc>
                  <a:txBody>
                    <a:bodyPr/>
                    <a:lstStyle/>
                    <a:p>
                      <a:r>
                        <a:rPr lang="de-DE" sz="100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Zahnbehandl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Besondere Füllungen, Wurzelbehandlungen, Fissuren, Parodontose,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Schmerz- und angststillende Maßnahm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9806703"/>
                  </a:ext>
                </a:extLst>
              </a:tr>
              <a:tr h="585300">
                <a:tc>
                  <a:txBody>
                    <a:bodyPr/>
                    <a:lstStyle/>
                    <a:p>
                      <a:r>
                        <a:rPr lang="de-DE" sz="100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Zahnprophyla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Professionelle Zahnreinigung, Bleac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80 € ab BKB/300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100 € ab BKB/600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120 € ab BKB/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200 € ab BKBT/3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250 € ab BKBT/6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300 € ab BKBT/9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836659"/>
                  </a:ext>
                </a:extLst>
              </a:tr>
              <a:tr h="1011281">
                <a:tc>
                  <a:txBody>
                    <a:bodyPr/>
                    <a:lstStyle/>
                    <a:p>
                      <a:r>
                        <a:rPr lang="de-DE" sz="100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Sehhil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Brillen inkl. Kontaktlinsen, LASI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Alle 2 Jahre:    200 € ab BKB/300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225 € ab BKB/6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250 € ab BKB/9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275 € ab BKB/12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300 € ab BKB/1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Jährlich:         250 € ab BKBT/3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 300 € ab BKBT/6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 350 € ab BKBT/9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 400 € ab BKBT/12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               450 € ab BKBT/1500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LASIK bis zur Budgethö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196946"/>
                  </a:ext>
                </a:extLst>
              </a:tr>
              <a:tr h="449048">
                <a:tc>
                  <a:txBody>
                    <a:bodyPr/>
                    <a:lstStyle/>
                    <a:p>
                      <a:r>
                        <a:rPr lang="de-DE" sz="1000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Hörhil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Hörhilfen, Reparatur und War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327572"/>
                  </a:ext>
                </a:extLst>
              </a:tr>
              <a:tr h="395900">
                <a:tc>
                  <a:txBody>
                    <a:bodyPr/>
                    <a:lstStyle/>
                    <a:p>
                      <a:r>
                        <a:rPr lang="de-DE" sz="1000" dirty="0"/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Naturheil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Naturheilverfahren durch Ärzte und Heilpraktiker inkl. verordneter Arznei- und Verbandmit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3342703"/>
                  </a:ext>
                </a:extLst>
              </a:tr>
              <a:tr h="585300">
                <a:tc>
                  <a:txBody>
                    <a:bodyPr/>
                    <a:lstStyle/>
                    <a:p>
                      <a:r>
                        <a:rPr lang="de-DE" sz="1000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Vorso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Erweiterte Krebsvorsorge, Krankheitsfrüherkennungsuntersuchungen, Glaukom-Früherkennung, Doppler-Sonographie, Ultraschall zur Prüfung der Vitalität des Fötus, Triple-Test zur Risikoabschätzung eines Morbus Down. Abrechnung im Rahmen der GOÄ-Regelhöchstsatze (2,3fach, bei Leistungen nach A, E, O 1,8fach, nach M 1,15fach) gestaffelt nach Al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146640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CC7A88-1477-4290-501F-53A07E583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838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AC452F-10FC-793E-F1D4-FEF4D76EA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dgettarife im Detail (2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4ACBC5-E59E-41FD-8B78-E22A87D6D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31</a:t>
            </a:fld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21C2A474-5974-6665-E1D6-0C03C0DE0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5967897"/>
              </p:ext>
            </p:extLst>
          </p:nvPr>
        </p:nvGraphicFramePr>
        <p:xfrm>
          <a:off x="400803" y="1482021"/>
          <a:ext cx="11376025" cy="50378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2051">
                  <a:extLst>
                    <a:ext uri="{9D8B030D-6E8A-4147-A177-3AD203B41FA5}">
                      <a16:colId xmlns:a16="http://schemas.microsoft.com/office/drawing/2014/main" val="3080309871"/>
                    </a:ext>
                  </a:extLst>
                </a:gridCol>
                <a:gridCol w="2212483">
                  <a:extLst>
                    <a:ext uri="{9D8B030D-6E8A-4147-A177-3AD203B41FA5}">
                      <a16:colId xmlns:a16="http://schemas.microsoft.com/office/drawing/2014/main" val="4155211549"/>
                    </a:ext>
                  </a:extLst>
                </a:gridCol>
                <a:gridCol w="5045037">
                  <a:extLst>
                    <a:ext uri="{9D8B030D-6E8A-4147-A177-3AD203B41FA5}">
                      <a16:colId xmlns:a16="http://schemas.microsoft.com/office/drawing/2014/main" val="4107623111"/>
                    </a:ext>
                  </a:extLst>
                </a:gridCol>
                <a:gridCol w="1666826">
                  <a:extLst>
                    <a:ext uri="{9D8B030D-6E8A-4147-A177-3AD203B41FA5}">
                      <a16:colId xmlns:a16="http://schemas.microsoft.com/office/drawing/2014/main" val="1314905762"/>
                    </a:ext>
                  </a:extLst>
                </a:gridCol>
                <a:gridCol w="1879628">
                  <a:extLst>
                    <a:ext uri="{9D8B030D-6E8A-4147-A177-3AD203B41FA5}">
                      <a16:colId xmlns:a16="http://schemas.microsoft.com/office/drawing/2014/main" val="890912266"/>
                    </a:ext>
                  </a:extLst>
                </a:gridCol>
              </a:tblGrid>
              <a:tr h="383010">
                <a:tc>
                  <a:txBody>
                    <a:bodyPr/>
                    <a:lstStyle/>
                    <a:p>
                      <a:r>
                        <a:rPr lang="de-DE" dirty="0"/>
                        <a:t>N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s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schreib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arif BK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arif BKB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685926"/>
                  </a:ext>
                </a:extLst>
              </a:tr>
              <a:tr h="408778">
                <a:tc>
                  <a:txBody>
                    <a:bodyPr/>
                    <a:lstStyle/>
                    <a:p>
                      <a:r>
                        <a:rPr lang="de-DE" sz="1000" dirty="0"/>
                        <a:t>8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Sonstige Vorsorg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Ambulante Vorsorgeuntersuchungen zur Früherkennung von Krankheiten und zur Schwangerschaftsvorsorge durch Ärzte, Abrechnung im Rahmen der GOÄ-Regelhöchstsatze (2,3fach, bei Leistungen nach A, E, O 1,8fach, nach </a:t>
                      </a:r>
                      <a:r>
                        <a:rPr lang="de-DE" sz="1000"/>
                        <a:t>M 1,15fach)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keine 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9855400"/>
                  </a:ext>
                </a:extLst>
              </a:tr>
              <a:tr h="707753">
                <a:tc>
                  <a:txBody>
                    <a:bodyPr/>
                    <a:lstStyle/>
                    <a:p>
                      <a:r>
                        <a:rPr lang="de-DE" sz="1000" dirty="0"/>
                        <a:t>9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Heilmit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Ärztlich verordnete Heilmittel inkl. gesetzlicher Eigenantei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900" dirty="0"/>
                        <a:t>inkl. ärztlich verordnetes </a:t>
                      </a:r>
                      <a:r>
                        <a:rPr lang="de-DE" sz="900" dirty="0" err="1"/>
                        <a:t>Kinesiotaping</a:t>
                      </a:r>
                      <a:r>
                        <a:rPr lang="de-DE" sz="900" dirty="0"/>
                        <a:t> jährlich bis </a:t>
                      </a:r>
                      <a:r>
                        <a:rPr lang="de-DE" sz="1000" dirty="0"/>
                        <a:t>250€</a:t>
                      </a:r>
                      <a:r>
                        <a:rPr lang="de-DE" sz="9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884857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0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Hilfsmit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000" dirty="0"/>
                        <a:t>Ärztlich verordnete Hilfsmittel inkl. gesetzlicher Eigenantei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597364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Arznei- und Verbandsmit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Ärztlich verordnete Arznei- und Verbandsmittel inkl. gesetzlicher Eigenantei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9806703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Schutzimpfungen vor Auslandsrei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Wichtige Schutzimpfungen einschließlich Impfstoffe vor Auslandsreisen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(Cholera, Typhus, Malaria, Gelbfieber, Hepatiti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836659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3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Kieferorthopädie bei Unf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Kieferorthopädische Behandlungen in Folge eines Unfalls oder schwerwiegender Krankheit (ausschließlich KIG 3 bis 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196946"/>
                  </a:ext>
                </a:extLst>
              </a:tr>
              <a:tr h="572226">
                <a:tc>
                  <a:txBody>
                    <a:bodyPr/>
                    <a:lstStyle/>
                    <a:p>
                      <a:r>
                        <a:rPr lang="de-DE" sz="1000" dirty="0"/>
                        <a:t>1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Krankenhaustageg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Krankenhaustagegeld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(Nicht versichert ist der Eigenanteil der GKV im Krankenhaus. Bei Vorlage einer einfachen Krankenhaus-Bescheinigung wird das KHT an den Mitarbeiter ausgezahlt.)</a:t>
                      </a:r>
                    </a:p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 € pro Tag, max. 28 Tage im Jah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5 € pro Tag, 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max. 28 Tage im Jahr,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auch bei Reha-Maßnahme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327572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Online-Arz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Ärztliche Fernbehandlung inkl. Rezeptausstellung, Überweisung und Verordnung – auch für nichtversicherte Familienangehörige (bis zu 2 x jährlic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außerhalb des Budg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außerhalb des Budge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146640"/>
                  </a:ext>
                </a:extLst>
              </a:tr>
              <a:tr h="419187">
                <a:tc>
                  <a:txBody>
                    <a:bodyPr/>
                    <a:lstStyle/>
                    <a:p>
                      <a:r>
                        <a:rPr lang="de-DE" sz="1000" dirty="0"/>
                        <a:t>1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Online-Hautarz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Schriftliche Einschätzung zu Hautproblemen sowie Privatrezeptausstellung – auch für nichtversicherte Familienangehörige (bis zu 2 x jährlic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außerhalb des Budg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 dirty="0"/>
                        <a:t>100 %</a:t>
                      </a:r>
                    </a:p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de-DE" sz="1000" dirty="0"/>
                        <a:t>außerhalb des Budge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942619"/>
                  </a:ext>
                </a:extLst>
              </a:tr>
            </a:tbl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02108DA4-9D11-4569-4E31-ADA959B6F8FF}"/>
              </a:ext>
            </a:extLst>
          </p:cNvPr>
          <p:cNvSpPr txBox="1"/>
          <p:nvPr/>
        </p:nvSpPr>
        <p:spPr>
          <a:xfrm>
            <a:off x="10448925" y="6300557"/>
            <a:ext cx="61912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de-DE" sz="1600" u="sng" dirty="0">
                <a:solidFill>
                  <a:schemeClr val="accent2">
                    <a:lumMod val="75000"/>
                  </a:schemeClr>
                </a:solidFill>
                <a:highlight>
                  <a:srgbClr val="C0C0C0"/>
                </a:highlight>
                <a:hlinkClick r:id="rId2" action="ppaction://hlinksldjump"/>
              </a:rPr>
              <a:t>zurück</a:t>
            </a:r>
            <a:endParaRPr lang="de-DE" sz="1600" u="sng" dirty="0">
              <a:solidFill>
                <a:schemeClr val="accent2">
                  <a:lumMod val="75000"/>
                </a:schemeClr>
              </a:solidFill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5734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Abgerundetes Rechteck 28"/>
          <p:cNvSpPr/>
          <p:nvPr/>
        </p:nvSpPr>
        <p:spPr>
          <a:xfrm>
            <a:off x="6240462" y="3882511"/>
            <a:ext cx="5409900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>
          <a:xfrm>
            <a:off x="6240462" y="1444109"/>
            <a:ext cx="5409899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1" name="Abgerundetes Rechteck 30"/>
          <p:cNvSpPr/>
          <p:nvPr/>
        </p:nvSpPr>
        <p:spPr>
          <a:xfrm>
            <a:off x="538163" y="1444108"/>
            <a:ext cx="5413375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7" name="Abgerundetes Rechteck 26"/>
          <p:cNvSpPr/>
          <p:nvPr/>
        </p:nvSpPr>
        <p:spPr>
          <a:xfrm>
            <a:off x="538162" y="3882510"/>
            <a:ext cx="5413375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viduelle Leistungsbausteine – Zahnbehandlung und Zahnersat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20"/>
          </p:nvPr>
        </p:nvSpPr>
        <p:spPr>
          <a:xfrm>
            <a:off x="407988" y="4051226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Entlastung bei Zahnbehandlungen (BKZB)</a:t>
            </a:r>
          </a:p>
          <a:p>
            <a:pPr marL="0" lvl="1" indent="0" algn="ctr">
              <a:buClr>
                <a:prstClr val="black"/>
              </a:buClr>
              <a:buNone/>
            </a:pPr>
            <a:r>
              <a:rPr lang="de-DE" dirty="0">
                <a:solidFill>
                  <a:prstClr val="black"/>
                </a:solidFill>
              </a:rPr>
              <a:t>Kostenerstattung für </a:t>
            </a:r>
          </a:p>
          <a:p>
            <a:pPr marL="0" lvl="1" algn="ctr">
              <a:buClr>
                <a:prstClr val="black"/>
              </a:buClr>
            </a:pPr>
            <a:r>
              <a:rPr lang="de-DE" dirty="0">
                <a:solidFill>
                  <a:prstClr val="black"/>
                </a:solidFill>
              </a:rPr>
              <a:t>besondere Füllungen </a:t>
            </a:r>
          </a:p>
          <a:p>
            <a:pPr marL="0" lvl="1" algn="ctr">
              <a:buClr>
                <a:prstClr val="black"/>
              </a:buClr>
            </a:pPr>
            <a:r>
              <a:rPr lang="de-DE" dirty="0" err="1">
                <a:solidFill>
                  <a:prstClr val="black"/>
                </a:solidFill>
              </a:rPr>
              <a:t>Parodontosebehandlungen</a:t>
            </a:r>
            <a:endParaRPr lang="de-DE" dirty="0">
              <a:solidFill>
                <a:prstClr val="black"/>
              </a:solidFill>
            </a:endParaRPr>
          </a:p>
          <a:p>
            <a:pPr marL="0" lvl="1" algn="ctr">
              <a:buClr>
                <a:prstClr val="black"/>
              </a:buClr>
            </a:pPr>
            <a:r>
              <a:rPr lang="de-DE" dirty="0">
                <a:solidFill>
                  <a:prstClr val="black"/>
                </a:solidFill>
              </a:rPr>
              <a:t>Wurzelbehandlungen</a:t>
            </a:r>
          </a:p>
          <a:p>
            <a:pPr marL="0" lvl="1" algn="ctr">
              <a:buClr>
                <a:prstClr val="black"/>
              </a:buClr>
            </a:pPr>
            <a:endParaRPr lang="de-DE" dirty="0">
              <a:solidFill>
                <a:prstClr val="black"/>
              </a:solidFill>
            </a:endParaRPr>
          </a:p>
          <a:p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21"/>
          </p:nvPr>
        </p:nvSpPr>
        <p:spPr>
          <a:xfrm>
            <a:off x="6240464" y="4051226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Zuschuss für Zahnvorsorge (BKZP)</a:t>
            </a:r>
          </a:p>
          <a:p>
            <a:pPr marL="0" lvl="1" algn="ctr">
              <a:buClr>
                <a:prstClr val="black"/>
              </a:buClr>
            </a:pPr>
            <a:r>
              <a:rPr lang="de-DE" dirty="0">
                <a:solidFill>
                  <a:prstClr val="black"/>
                </a:solidFill>
              </a:rPr>
              <a:t>2 x 60,- Euro jährlicher Zuschuss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zur </a:t>
            </a:r>
            <a:r>
              <a:rPr lang="de-DE" dirty="0" err="1">
                <a:solidFill>
                  <a:prstClr val="black"/>
                </a:solidFill>
              </a:rPr>
              <a:t>Zahnpropyhlaxe</a:t>
            </a:r>
            <a:endParaRPr lang="de-DE" dirty="0">
              <a:solidFill>
                <a:prstClr val="black"/>
              </a:solidFill>
            </a:endParaRPr>
          </a:p>
          <a:p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8"/>
          </p:nvPr>
        </p:nvSpPr>
        <p:spPr>
          <a:xfrm>
            <a:off x="407988" y="1646789"/>
            <a:ext cx="5543550" cy="1807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84" tIns="71992" rIns="107984" bIns="71992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ts val="800"/>
              </a:spcBef>
            </a:pPr>
            <a:r>
              <a:rPr lang="de-DE" sz="1600" dirty="0">
                <a:solidFill>
                  <a:srgbClr val="00A075"/>
                </a:solidFill>
              </a:rPr>
              <a:t>Entlastung bei Zahnersatz (BKZ)</a:t>
            </a: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r>
              <a:rPr lang="de-DE" sz="1600" dirty="0">
                <a:solidFill>
                  <a:prstClr val="black"/>
                </a:solidFill>
              </a:rPr>
              <a:t>10% - 90% Kostenerstattung </a:t>
            </a:r>
            <a:br>
              <a:rPr lang="de-DE" sz="1600" dirty="0">
                <a:solidFill>
                  <a:prstClr val="black"/>
                </a:solidFill>
              </a:rPr>
            </a:br>
            <a:r>
              <a:rPr lang="de-DE" sz="1600" dirty="0">
                <a:solidFill>
                  <a:prstClr val="black"/>
                </a:solidFill>
              </a:rPr>
              <a:t>für Zahnersatz inkl. Inlays und Implantaten  </a:t>
            </a: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endParaRPr lang="de-DE" dirty="0">
              <a:solidFill>
                <a:prstClr val="black"/>
              </a:solidFill>
            </a:endParaRP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9"/>
          </p:nvPr>
        </p:nvSpPr>
        <p:spPr>
          <a:xfrm>
            <a:off x="6240463" y="1646789"/>
            <a:ext cx="5543550" cy="1807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84" tIns="71992" rIns="107984" bIns="71992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ts val="800"/>
              </a:spcBef>
            </a:pPr>
            <a:r>
              <a:rPr lang="de-DE" sz="1600" dirty="0">
                <a:solidFill>
                  <a:srgbClr val="00A075"/>
                </a:solidFill>
              </a:rPr>
              <a:t>Entlastung bei Zahnersatz </a:t>
            </a:r>
            <a:r>
              <a:rPr lang="de-DE" dirty="0">
                <a:solidFill>
                  <a:srgbClr val="00A075"/>
                </a:solidFill>
              </a:rPr>
              <a:t>(BKZT)</a:t>
            </a:r>
            <a:endParaRPr lang="de-DE" sz="1600" dirty="0">
              <a:solidFill>
                <a:srgbClr val="00A075"/>
              </a:solidFill>
            </a:endParaRP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r>
              <a:rPr lang="de-DE" sz="1600" dirty="0">
                <a:solidFill>
                  <a:prstClr val="black"/>
                </a:solidFill>
              </a:rPr>
              <a:t>10% - 50% Kostenerstattung </a:t>
            </a:r>
            <a:br>
              <a:rPr lang="de-DE" sz="1600" dirty="0">
                <a:solidFill>
                  <a:prstClr val="black"/>
                </a:solidFill>
              </a:rPr>
            </a:br>
            <a:r>
              <a:rPr lang="de-DE" sz="1600" dirty="0">
                <a:solidFill>
                  <a:prstClr val="black"/>
                </a:solidFill>
              </a:rPr>
              <a:t>für Zahnersatz inkl. Inlays und Implantaten</a:t>
            </a: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r>
              <a:rPr lang="de-DE" dirty="0">
                <a:solidFill>
                  <a:prstClr val="black"/>
                </a:solidFill>
              </a:rPr>
              <a:t>Keine Begrenzung in den ersten Versicherungsjahren </a:t>
            </a:r>
          </a:p>
          <a:p>
            <a:pPr marL="0" lvl="1" algn="ctr">
              <a:lnSpc>
                <a:spcPct val="110000"/>
              </a:lnSpc>
              <a:spcBef>
                <a:spcPts val="800"/>
              </a:spcBef>
              <a:buClr>
                <a:prstClr val="black"/>
              </a:buClr>
            </a:pPr>
            <a:r>
              <a:rPr lang="de-DE" sz="1600" dirty="0">
                <a:solidFill>
                  <a:prstClr val="black"/>
                </a:solidFill>
              </a:rPr>
              <a:t>über GOZ-Höchstsatz hinaus </a:t>
            </a:r>
          </a:p>
        </p:txBody>
      </p:sp>
      <p:grpSp>
        <p:nvGrpSpPr>
          <p:cNvPr id="12" name="Group 94"/>
          <p:cNvGrpSpPr>
            <a:grpSpLocks noChangeAspect="1"/>
          </p:cNvGrpSpPr>
          <p:nvPr/>
        </p:nvGrpSpPr>
        <p:grpSpPr bwMode="auto">
          <a:xfrm>
            <a:off x="688754" y="1650135"/>
            <a:ext cx="421960" cy="415755"/>
            <a:chOff x="6138" y="2731"/>
            <a:chExt cx="884" cy="871"/>
          </a:xfrm>
        </p:grpSpPr>
        <p:sp>
          <p:nvSpPr>
            <p:cNvPr id="13" name="Freeform 95"/>
            <p:cNvSpPr>
              <a:spLocks/>
            </p:cNvSpPr>
            <p:nvPr/>
          </p:nvSpPr>
          <p:spPr bwMode="auto">
            <a:xfrm>
              <a:off x="6531" y="2731"/>
              <a:ext cx="491" cy="490"/>
            </a:xfrm>
            <a:custGeom>
              <a:avLst/>
              <a:gdLst>
                <a:gd name="T0" fmla="*/ 170 w 491"/>
                <a:gd name="T1" fmla="*/ 318 h 490"/>
                <a:gd name="T2" fmla="*/ 0 w 491"/>
                <a:gd name="T3" fmla="*/ 318 h 490"/>
                <a:gd name="T4" fmla="*/ 0 w 491"/>
                <a:gd name="T5" fmla="*/ 171 h 490"/>
                <a:gd name="T6" fmla="*/ 172 w 491"/>
                <a:gd name="T7" fmla="*/ 171 h 490"/>
                <a:gd name="T8" fmla="*/ 172 w 491"/>
                <a:gd name="T9" fmla="*/ 0 h 490"/>
                <a:gd name="T10" fmla="*/ 319 w 491"/>
                <a:gd name="T11" fmla="*/ 0 h 490"/>
                <a:gd name="T12" fmla="*/ 319 w 491"/>
                <a:gd name="T13" fmla="*/ 171 h 490"/>
                <a:gd name="T14" fmla="*/ 491 w 491"/>
                <a:gd name="T15" fmla="*/ 171 h 490"/>
                <a:gd name="T16" fmla="*/ 491 w 491"/>
                <a:gd name="T17" fmla="*/ 318 h 490"/>
                <a:gd name="T18" fmla="*/ 319 w 491"/>
                <a:gd name="T19" fmla="*/ 318 h 490"/>
                <a:gd name="T20" fmla="*/ 319 w 491"/>
                <a:gd name="T21" fmla="*/ 490 h 490"/>
                <a:gd name="T22" fmla="*/ 170 w 491"/>
                <a:gd name="T23" fmla="*/ 490 h 490"/>
                <a:gd name="T24" fmla="*/ 170 w 491"/>
                <a:gd name="T25" fmla="*/ 31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1" h="490">
                  <a:moveTo>
                    <a:pt x="170" y="318"/>
                  </a:moveTo>
                  <a:lnTo>
                    <a:pt x="0" y="318"/>
                  </a:lnTo>
                  <a:lnTo>
                    <a:pt x="0" y="171"/>
                  </a:lnTo>
                  <a:lnTo>
                    <a:pt x="172" y="171"/>
                  </a:lnTo>
                  <a:lnTo>
                    <a:pt x="172" y="0"/>
                  </a:lnTo>
                  <a:lnTo>
                    <a:pt x="319" y="0"/>
                  </a:lnTo>
                  <a:lnTo>
                    <a:pt x="319" y="171"/>
                  </a:lnTo>
                  <a:lnTo>
                    <a:pt x="491" y="171"/>
                  </a:lnTo>
                  <a:lnTo>
                    <a:pt x="491" y="318"/>
                  </a:lnTo>
                  <a:lnTo>
                    <a:pt x="319" y="318"/>
                  </a:lnTo>
                  <a:lnTo>
                    <a:pt x="319" y="490"/>
                  </a:lnTo>
                  <a:lnTo>
                    <a:pt x="170" y="490"/>
                  </a:lnTo>
                  <a:lnTo>
                    <a:pt x="170" y="318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6"/>
            <p:cNvSpPr>
              <a:spLocks/>
            </p:cNvSpPr>
            <p:nvPr/>
          </p:nvSpPr>
          <p:spPr bwMode="auto">
            <a:xfrm>
              <a:off x="6138" y="2918"/>
              <a:ext cx="657" cy="684"/>
            </a:xfrm>
            <a:custGeom>
              <a:avLst/>
              <a:gdLst>
                <a:gd name="T0" fmla="*/ 23969 w 25954"/>
                <a:gd name="T1" fmla="*/ 13947 h 27106"/>
                <a:gd name="T2" fmla="*/ 22196 w 25954"/>
                <a:gd name="T3" fmla="*/ 20353 h 27106"/>
                <a:gd name="T4" fmla="*/ 20326 w 25954"/>
                <a:gd name="T5" fmla="*/ 24194 h 27106"/>
                <a:gd name="T6" fmla="*/ 19423 w 25954"/>
                <a:gd name="T7" fmla="*/ 25052 h 27106"/>
                <a:gd name="T8" fmla="*/ 19314 w 25954"/>
                <a:gd name="T9" fmla="*/ 25015 h 27106"/>
                <a:gd name="T10" fmla="*/ 19253 w 25954"/>
                <a:gd name="T11" fmla="*/ 25020 h 27106"/>
                <a:gd name="T12" fmla="*/ 18877 w 25954"/>
                <a:gd name="T13" fmla="*/ 23875 h 27106"/>
                <a:gd name="T14" fmla="*/ 18794 w 25954"/>
                <a:gd name="T15" fmla="*/ 22927 h 27106"/>
                <a:gd name="T16" fmla="*/ 13832 w 25954"/>
                <a:gd name="T17" fmla="*/ 15804 h 27106"/>
                <a:gd name="T18" fmla="*/ 8870 w 25954"/>
                <a:gd name="T19" fmla="*/ 22929 h 27106"/>
                <a:gd name="T20" fmla="*/ 8787 w 25954"/>
                <a:gd name="T21" fmla="*/ 23875 h 27106"/>
                <a:gd name="T22" fmla="*/ 8411 w 25954"/>
                <a:gd name="T23" fmla="*/ 25020 h 27106"/>
                <a:gd name="T24" fmla="*/ 8351 w 25954"/>
                <a:gd name="T25" fmla="*/ 25015 h 27106"/>
                <a:gd name="T26" fmla="*/ 8242 w 25954"/>
                <a:gd name="T27" fmla="*/ 25052 h 27106"/>
                <a:gd name="T28" fmla="*/ 7339 w 25954"/>
                <a:gd name="T29" fmla="*/ 24194 h 27106"/>
                <a:gd name="T30" fmla="*/ 5482 w 25954"/>
                <a:gd name="T31" fmla="*/ 20388 h 27106"/>
                <a:gd name="T32" fmla="*/ 3046 w 25954"/>
                <a:gd name="T33" fmla="*/ 5513 h 27106"/>
                <a:gd name="T34" fmla="*/ 4709 w 25954"/>
                <a:gd name="T35" fmla="*/ 2718 h 27106"/>
                <a:gd name="T36" fmla="*/ 6987 w 25954"/>
                <a:gd name="T37" fmla="*/ 2483 h 27106"/>
                <a:gd name="T38" fmla="*/ 13472 w 25954"/>
                <a:gd name="T39" fmla="*/ 4348 h 27106"/>
                <a:gd name="T40" fmla="*/ 13472 w 25954"/>
                <a:gd name="T41" fmla="*/ 2103 h 27106"/>
                <a:gd name="T42" fmla="*/ 7497 w 25954"/>
                <a:gd name="T43" fmla="*/ 612 h 27106"/>
                <a:gd name="T44" fmla="*/ 3757 w 25954"/>
                <a:gd name="T45" fmla="*/ 1026 h 27106"/>
                <a:gd name="T46" fmla="*/ 1150 w 25954"/>
                <a:gd name="T47" fmla="*/ 5098 h 27106"/>
                <a:gd name="T48" fmla="*/ 3659 w 25954"/>
                <a:gd name="T49" fmla="*/ 21056 h 27106"/>
                <a:gd name="T50" fmla="*/ 5701 w 25954"/>
                <a:gd name="T51" fmla="*/ 25236 h 27106"/>
                <a:gd name="T52" fmla="*/ 8637 w 25954"/>
                <a:gd name="T53" fmla="*/ 26956 h 27106"/>
                <a:gd name="T54" fmla="*/ 10714 w 25954"/>
                <a:gd name="T55" fmla="*/ 24111 h 27106"/>
                <a:gd name="T56" fmla="*/ 10806 w 25954"/>
                <a:gd name="T57" fmla="*/ 23073 h 27106"/>
                <a:gd name="T58" fmla="*/ 13832 w 25954"/>
                <a:gd name="T59" fmla="*/ 17745 h 27106"/>
                <a:gd name="T60" fmla="*/ 16858 w 25954"/>
                <a:gd name="T61" fmla="*/ 23072 h 27106"/>
                <a:gd name="T62" fmla="*/ 16950 w 25954"/>
                <a:gd name="T63" fmla="*/ 24111 h 27106"/>
                <a:gd name="T64" fmla="*/ 19027 w 25954"/>
                <a:gd name="T65" fmla="*/ 26956 h 27106"/>
                <a:gd name="T66" fmla="*/ 19401 w 25954"/>
                <a:gd name="T67" fmla="*/ 26993 h 27106"/>
                <a:gd name="T68" fmla="*/ 21964 w 25954"/>
                <a:gd name="T69" fmla="*/ 25236 h 27106"/>
                <a:gd name="T70" fmla="*/ 24018 w 25954"/>
                <a:gd name="T71" fmla="*/ 21021 h 27106"/>
                <a:gd name="T72" fmla="*/ 25954 w 25954"/>
                <a:gd name="T73" fmla="*/ 13947 h 27106"/>
                <a:gd name="T74" fmla="*/ 23969 w 25954"/>
                <a:gd name="T75" fmla="*/ 13947 h 27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954" h="27106">
                  <a:moveTo>
                    <a:pt x="23969" y="13947"/>
                  </a:moveTo>
                  <a:cubicBezTo>
                    <a:pt x="23208" y="17401"/>
                    <a:pt x="22195" y="20353"/>
                    <a:pt x="22196" y="20353"/>
                  </a:cubicBezTo>
                  <a:cubicBezTo>
                    <a:pt x="22187" y="20376"/>
                    <a:pt x="21284" y="22688"/>
                    <a:pt x="20326" y="24194"/>
                  </a:cubicBezTo>
                  <a:cubicBezTo>
                    <a:pt x="19903" y="24860"/>
                    <a:pt x="19552" y="25034"/>
                    <a:pt x="19423" y="25052"/>
                  </a:cubicBezTo>
                  <a:cubicBezTo>
                    <a:pt x="19314" y="25015"/>
                    <a:pt x="19314" y="25015"/>
                    <a:pt x="19314" y="25015"/>
                  </a:cubicBezTo>
                  <a:cubicBezTo>
                    <a:pt x="19253" y="25020"/>
                    <a:pt x="19253" y="25020"/>
                    <a:pt x="19253" y="25020"/>
                  </a:cubicBezTo>
                  <a:cubicBezTo>
                    <a:pt x="19159" y="24927"/>
                    <a:pt x="18967" y="24606"/>
                    <a:pt x="18877" y="23875"/>
                  </a:cubicBezTo>
                  <a:cubicBezTo>
                    <a:pt x="18844" y="23606"/>
                    <a:pt x="18821" y="23283"/>
                    <a:pt x="18794" y="22927"/>
                  </a:cubicBezTo>
                  <a:cubicBezTo>
                    <a:pt x="18621" y="20615"/>
                    <a:pt x="18262" y="15804"/>
                    <a:pt x="13832" y="15804"/>
                  </a:cubicBezTo>
                  <a:cubicBezTo>
                    <a:pt x="9401" y="15804"/>
                    <a:pt x="9043" y="20616"/>
                    <a:pt x="8870" y="22929"/>
                  </a:cubicBezTo>
                  <a:cubicBezTo>
                    <a:pt x="8844" y="23284"/>
                    <a:pt x="8820" y="23606"/>
                    <a:pt x="8787" y="23875"/>
                  </a:cubicBezTo>
                  <a:cubicBezTo>
                    <a:pt x="8698" y="24606"/>
                    <a:pt x="8505" y="24927"/>
                    <a:pt x="8411" y="25020"/>
                  </a:cubicBezTo>
                  <a:cubicBezTo>
                    <a:pt x="8351" y="25015"/>
                    <a:pt x="8351" y="25015"/>
                    <a:pt x="8351" y="25015"/>
                  </a:cubicBezTo>
                  <a:cubicBezTo>
                    <a:pt x="8242" y="25052"/>
                    <a:pt x="8242" y="25052"/>
                    <a:pt x="8242" y="25052"/>
                  </a:cubicBezTo>
                  <a:cubicBezTo>
                    <a:pt x="8112" y="25034"/>
                    <a:pt x="7762" y="24859"/>
                    <a:pt x="7339" y="24194"/>
                  </a:cubicBezTo>
                  <a:cubicBezTo>
                    <a:pt x="6385" y="22695"/>
                    <a:pt x="5482" y="20388"/>
                    <a:pt x="5482" y="20388"/>
                  </a:cubicBezTo>
                  <a:cubicBezTo>
                    <a:pt x="5446" y="20287"/>
                    <a:pt x="2011" y="10245"/>
                    <a:pt x="3046" y="5513"/>
                  </a:cubicBezTo>
                  <a:cubicBezTo>
                    <a:pt x="3349" y="4128"/>
                    <a:pt x="3909" y="3187"/>
                    <a:pt x="4709" y="2718"/>
                  </a:cubicBezTo>
                  <a:cubicBezTo>
                    <a:pt x="5736" y="2116"/>
                    <a:pt x="6899" y="2459"/>
                    <a:pt x="6987" y="2483"/>
                  </a:cubicBezTo>
                  <a:cubicBezTo>
                    <a:pt x="7013" y="2489"/>
                    <a:pt x="11559" y="3088"/>
                    <a:pt x="13472" y="4348"/>
                  </a:cubicBezTo>
                  <a:cubicBezTo>
                    <a:pt x="13472" y="2103"/>
                    <a:pt x="13472" y="2103"/>
                    <a:pt x="13472" y="2103"/>
                  </a:cubicBezTo>
                  <a:cubicBezTo>
                    <a:pt x="11510" y="1084"/>
                    <a:pt x="7532" y="616"/>
                    <a:pt x="7497" y="612"/>
                  </a:cubicBezTo>
                  <a:cubicBezTo>
                    <a:pt x="7416" y="586"/>
                    <a:pt x="5537" y="0"/>
                    <a:pt x="3757" y="1026"/>
                  </a:cubicBezTo>
                  <a:cubicBezTo>
                    <a:pt x="2454" y="1776"/>
                    <a:pt x="1577" y="3146"/>
                    <a:pt x="1150" y="5098"/>
                  </a:cubicBezTo>
                  <a:cubicBezTo>
                    <a:pt x="0" y="10357"/>
                    <a:pt x="3497" y="20589"/>
                    <a:pt x="3659" y="21056"/>
                  </a:cubicBezTo>
                  <a:cubicBezTo>
                    <a:pt x="3699" y="21158"/>
                    <a:pt x="4641" y="23570"/>
                    <a:pt x="5701" y="25236"/>
                  </a:cubicBezTo>
                  <a:cubicBezTo>
                    <a:pt x="6890" y="27106"/>
                    <a:pt x="8182" y="27049"/>
                    <a:pt x="8637" y="26956"/>
                  </a:cubicBezTo>
                  <a:cubicBezTo>
                    <a:pt x="9169" y="26893"/>
                    <a:pt x="10423" y="26488"/>
                    <a:pt x="10714" y="24111"/>
                  </a:cubicBezTo>
                  <a:cubicBezTo>
                    <a:pt x="10750" y="23816"/>
                    <a:pt x="10777" y="23463"/>
                    <a:pt x="10806" y="23073"/>
                  </a:cubicBezTo>
                  <a:cubicBezTo>
                    <a:pt x="11064" y="19618"/>
                    <a:pt x="11622" y="17745"/>
                    <a:pt x="13832" y="17745"/>
                  </a:cubicBezTo>
                  <a:cubicBezTo>
                    <a:pt x="16042" y="17745"/>
                    <a:pt x="16601" y="19617"/>
                    <a:pt x="16858" y="23072"/>
                  </a:cubicBezTo>
                  <a:cubicBezTo>
                    <a:pt x="16887" y="23462"/>
                    <a:pt x="16914" y="23815"/>
                    <a:pt x="16950" y="24111"/>
                  </a:cubicBezTo>
                  <a:cubicBezTo>
                    <a:pt x="17241" y="26488"/>
                    <a:pt x="18495" y="26893"/>
                    <a:pt x="19027" y="26956"/>
                  </a:cubicBezTo>
                  <a:cubicBezTo>
                    <a:pt x="19120" y="26975"/>
                    <a:pt x="19247" y="26993"/>
                    <a:pt x="19401" y="26993"/>
                  </a:cubicBezTo>
                  <a:cubicBezTo>
                    <a:pt x="20003" y="26993"/>
                    <a:pt x="21015" y="26727"/>
                    <a:pt x="21964" y="25236"/>
                  </a:cubicBezTo>
                  <a:cubicBezTo>
                    <a:pt x="23023" y="23570"/>
                    <a:pt x="23965" y="21158"/>
                    <a:pt x="24018" y="21021"/>
                  </a:cubicBezTo>
                  <a:cubicBezTo>
                    <a:pt x="24065" y="20884"/>
                    <a:pt x="25160" y="17689"/>
                    <a:pt x="25954" y="13947"/>
                  </a:cubicBezTo>
                  <a:lnTo>
                    <a:pt x="23969" y="13947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oup 94"/>
          <p:cNvGrpSpPr>
            <a:grpSpLocks noChangeAspect="1"/>
          </p:cNvGrpSpPr>
          <p:nvPr/>
        </p:nvGrpSpPr>
        <p:grpSpPr bwMode="auto">
          <a:xfrm>
            <a:off x="6538188" y="1641899"/>
            <a:ext cx="421960" cy="415755"/>
            <a:chOff x="6138" y="2731"/>
            <a:chExt cx="884" cy="871"/>
          </a:xfrm>
        </p:grpSpPr>
        <p:sp>
          <p:nvSpPr>
            <p:cNvPr id="16" name="Freeform 95"/>
            <p:cNvSpPr>
              <a:spLocks/>
            </p:cNvSpPr>
            <p:nvPr/>
          </p:nvSpPr>
          <p:spPr bwMode="auto">
            <a:xfrm>
              <a:off x="6531" y="2731"/>
              <a:ext cx="491" cy="490"/>
            </a:xfrm>
            <a:custGeom>
              <a:avLst/>
              <a:gdLst>
                <a:gd name="T0" fmla="*/ 170 w 491"/>
                <a:gd name="T1" fmla="*/ 318 h 490"/>
                <a:gd name="T2" fmla="*/ 0 w 491"/>
                <a:gd name="T3" fmla="*/ 318 h 490"/>
                <a:gd name="T4" fmla="*/ 0 w 491"/>
                <a:gd name="T5" fmla="*/ 171 h 490"/>
                <a:gd name="T6" fmla="*/ 172 w 491"/>
                <a:gd name="T7" fmla="*/ 171 h 490"/>
                <a:gd name="T8" fmla="*/ 172 w 491"/>
                <a:gd name="T9" fmla="*/ 0 h 490"/>
                <a:gd name="T10" fmla="*/ 319 w 491"/>
                <a:gd name="T11" fmla="*/ 0 h 490"/>
                <a:gd name="T12" fmla="*/ 319 w 491"/>
                <a:gd name="T13" fmla="*/ 171 h 490"/>
                <a:gd name="T14" fmla="*/ 491 w 491"/>
                <a:gd name="T15" fmla="*/ 171 h 490"/>
                <a:gd name="T16" fmla="*/ 491 w 491"/>
                <a:gd name="T17" fmla="*/ 318 h 490"/>
                <a:gd name="T18" fmla="*/ 319 w 491"/>
                <a:gd name="T19" fmla="*/ 318 h 490"/>
                <a:gd name="T20" fmla="*/ 319 w 491"/>
                <a:gd name="T21" fmla="*/ 490 h 490"/>
                <a:gd name="T22" fmla="*/ 170 w 491"/>
                <a:gd name="T23" fmla="*/ 490 h 490"/>
                <a:gd name="T24" fmla="*/ 170 w 491"/>
                <a:gd name="T25" fmla="*/ 31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1" h="490">
                  <a:moveTo>
                    <a:pt x="170" y="318"/>
                  </a:moveTo>
                  <a:lnTo>
                    <a:pt x="0" y="318"/>
                  </a:lnTo>
                  <a:lnTo>
                    <a:pt x="0" y="171"/>
                  </a:lnTo>
                  <a:lnTo>
                    <a:pt x="172" y="171"/>
                  </a:lnTo>
                  <a:lnTo>
                    <a:pt x="172" y="0"/>
                  </a:lnTo>
                  <a:lnTo>
                    <a:pt x="319" y="0"/>
                  </a:lnTo>
                  <a:lnTo>
                    <a:pt x="319" y="171"/>
                  </a:lnTo>
                  <a:lnTo>
                    <a:pt x="491" y="171"/>
                  </a:lnTo>
                  <a:lnTo>
                    <a:pt x="491" y="318"/>
                  </a:lnTo>
                  <a:lnTo>
                    <a:pt x="319" y="318"/>
                  </a:lnTo>
                  <a:lnTo>
                    <a:pt x="319" y="490"/>
                  </a:lnTo>
                  <a:lnTo>
                    <a:pt x="170" y="490"/>
                  </a:lnTo>
                  <a:lnTo>
                    <a:pt x="170" y="318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6"/>
            <p:cNvSpPr>
              <a:spLocks/>
            </p:cNvSpPr>
            <p:nvPr/>
          </p:nvSpPr>
          <p:spPr bwMode="auto">
            <a:xfrm>
              <a:off x="6138" y="2918"/>
              <a:ext cx="657" cy="684"/>
            </a:xfrm>
            <a:custGeom>
              <a:avLst/>
              <a:gdLst>
                <a:gd name="T0" fmla="*/ 23969 w 25954"/>
                <a:gd name="T1" fmla="*/ 13947 h 27106"/>
                <a:gd name="T2" fmla="*/ 22196 w 25954"/>
                <a:gd name="T3" fmla="*/ 20353 h 27106"/>
                <a:gd name="T4" fmla="*/ 20326 w 25954"/>
                <a:gd name="T5" fmla="*/ 24194 h 27106"/>
                <a:gd name="T6" fmla="*/ 19423 w 25954"/>
                <a:gd name="T7" fmla="*/ 25052 h 27106"/>
                <a:gd name="T8" fmla="*/ 19314 w 25954"/>
                <a:gd name="T9" fmla="*/ 25015 h 27106"/>
                <a:gd name="T10" fmla="*/ 19253 w 25954"/>
                <a:gd name="T11" fmla="*/ 25020 h 27106"/>
                <a:gd name="T12" fmla="*/ 18877 w 25954"/>
                <a:gd name="T13" fmla="*/ 23875 h 27106"/>
                <a:gd name="T14" fmla="*/ 18794 w 25954"/>
                <a:gd name="T15" fmla="*/ 22927 h 27106"/>
                <a:gd name="T16" fmla="*/ 13832 w 25954"/>
                <a:gd name="T17" fmla="*/ 15804 h 27106"/>
                <a:gd name="T18" fmla="*/ 8870 w 25954"/>
                <a:gd name="T19" fmla="*/ 22929 h 27106"/>
                <a:gd name="T20" fmla="*/ 8787 w 25954"/>
                <a:gd name="T21" fmla="*/ 23875 h 27106"/>
                <a:gd name="T22" fmla="*/ 8411 w 25954"/>
                <a:gd name="T23" fmla="*/ 25020 h 27106"/>
                <a:gd name="T24" fmla="*/ 8351 w 25954"/>
                <a:gd name="T25" fmla="*/ 25015 h 27106"/>
                <a:gd name="T26" fmla="*/ 8242 w 25954"/>
                <a:gd name="T27" fmla="*/ 25052 h 27106"/>
                <a:gd name="T28" fmla="*/ 7339 w 25954"/>
                <a:gd name="T29" fmla="*/ 24194 h 27106"/>
                <a:gd name="T30" fmla="*/ 5482 w 25954"/>
                <a:gd name="T31" fmla="*/ 20388 h 27106"/>
                <a:gd name="T32" fmla="*/ 3046 w 25954"/>
                <a:gd name="T33" fmla="*/ 5513 h 27106"/>
                <a:gd name="T34" fmla="*/ 4709 w 25954"/>
                <a:gd name="T35" fmla="*/ 2718 h 27106"/>
                <a:gd name="T36" fmla="*/ 6987 w 25954"/>
                <a:gd name="T37" fmla="*/ 2483 h 27106"/>
                <a:gd name="T38" fmla="*/ 13472 w 25954"/>
                <a:gd name="T39" fmla="*/ 4348 h 27106"/>
                <a:gd name="T40" fmla="*/ 13472 w 25954"/>
                <a:gd name="T41" fmla="*/ 2103 h 27106"/>
                <a:gd name="T42" fmla="*/ 7497 w 25954"/>
                <a:gd name="T43" fmla="*/ 612 h 27106"/>
                <a:gd name="T44" fmla="*/ 3757 w 25954"/>
                <a:gd name="T45" fmla="*/ 1026 h 27106"/>
                <a:gd name="T46" fmla="*/ 1150 w 25954"/>
                <a:gd name="T47" fmla="*/ 5098 h 27106"/>
                <a:gd name="T48" fmla="*/ 3659 w 25954"/>
                <a:gd name="T49" fmla="*/ 21056 h 27106"/>
                <a:gd name="T50" fmla="*/ 5701 w 25954"/>
                <a:gd name="T51" fmla="*/ 25236 h 27106"/>
                <a:gd name="T52" fmla="*/ 8637 w 25954"/>
                <a:gd name="T53" fmla="*/ 26956 h 27106"/>
                <a:gd name="T54" fmla="*/ 10714 w 25954"/>
                <a:gd name="T55" fmla="*/ 24111 h 27106"/>
                <a:gd name="T56" fmla="*/ 10806 w 25954"/>
                <a:gd name="T57" fmla="*/ 23073 h 27106"/>
                <a:gd name="T58" fmla="*/ 13832 w 25954"/>
                <a:gd name="T59" fmla="*/ 17745 h 27106"/>
                <a:gd name="T60" fmla="*/ 16858 w 25954"/>
                <a:gd name="T61" fmla="*/ 23072 h 27106"/>
                <a:gd name="T62" fmla="*/ 16950 w 25954"/>
                <a:gd name="T63" fmla="*/ 24111 h 27106"/>
                <a:gd name="T64" fmla="*/ 19027 w 25954"/>
                <a:gd name="T65" fmla="*/ 26956 h 27106"/>
                <a:gd name="T66" fmla="*/ 19401 w 25954"/>
                <a:gd name="T67" fmla="*/ 26993 h 27106"/>
                <a:gd name="T68" fmla="*/ 21964 w 25954"/>
                <a:gd name="T69" fmla="*/ 25236 h 27106"/>
                <a:gd name="T70" fmla="*/ 24018 w 25954"/>
                <a:gd name="T71" fmla="*/ 21021 h 27106"/>
                <a:gd name="T72" fmla="*/ 25954 w 25954"/>
                <a:gd name="T73" fmla="*/ 13947 h 27106"/>
                <a:gd name="T74" fmla="*/ 23969 w 25954"/>
                <a:gd name="T75" fmla="*/ 13947 h 27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954" h="27106">
                  <a:moveTo>
                    <a:pt x="23969" y="13947"/>
                  </a:moveTo>
                  <a:cubicBezTo>
                    <a:pt x="23208" y="17401"/>
                    <a:pt x="22195" y="20353"/>
                    <a:pt x="22196" y="20353"/>
                  </a:cubicBezTo>
                  <a:cubicBezTo>
                    <a:pt x="22187" y="20376"/>
                    <a:pt x="21284" y="22688"/>
                    <a:pt x="20326" y="24194"/>
                  </a:cubicBezTo>
                  <a:cubicBezTo>
                    <a:pt x="19903" y="24860"/>
                    <a:pt x="19552" y="25034"/>
                    <a:pt x="19423" y="25052"/>
                  </a:cubicBezTo>
                  <a:cubicBezTo>
                    <a:pt x="19314" y="25015"/>
                    <a:pt x="19314" y="25015"/>
                    <a:pt x="19314" y="25015"/>
                  </a:cubicBezTo>
                  <a:cubicBezTo>
                    <a:pt x="19253" y="25020"/>
                    <a:pt x="19253" y="25020"/>
                    <a:pt x="19253" y="25020"/>
                  </a:cubicBezTo>
                  <a:cubicBezTo>
                    <a:pt x="19159" y="24927"/>
                    <a:pt x="18967" y="24606"/>
                    <a:pt x="18877" y="23875"/>
                  </a:cubicBezTo>
                  <a:cubicBezTo>
                    <a:pt x="18844" y="23606"/>
                    <a:pt x="18821" y="23283"/>
                    <a:pt x="18794" y="22927"/>
                  </a:cubicBezTo>
                  <a:cubicBezTo>
                    <a:pt x="18621" y="20615"/>
                    <a:pt x="18262" y="15804"/>
                    <a:pt x="13832" y="15804"/>
                  </a:cubicBezTo>
                  <a:cubicBezTo>
                    <a:pt x="9401" y="15804"/>
                    <a:pt x="9043" y="20616"/>
                    <a:pt x="8870" y="22929"/>
                  </a:cubicBezTo>
                  <a:cubicBezTo>
                    <a:pt x="8844" y="23284"/>
                    <a:pt x="8820" y="23606"/>
                    <a:pt x="8787" y="23875"/>
                  </a:cubicBezTo>
                  <a:cubicBezTo>
                    <a:pt x="8698" y="24606"/>
                    <a:pt x="8505" y="24927"/>
                    <a:pt x="8411" y="25020"/>
                  </a:cubicBezTo>
                  <a:cubicBezTo>
                    <a:pt x="8351" y="25015"/>
                    <a:pt x="8351" y="25015"/>
                    <a:pt x="8351" y="25015"/>
                  </a:cubicBezTo>
                  <a:cubicBezTo>
                    <a:pt x="8242" y="25052"/>
                    <a:pt x="8242" y="25052"/>
                    <a:pt x="8242" y="25052"/>
                  </a:cubicBezTo>
                  <a:cubicBezTo>
                    <a:pt x="8112" y="25034"/>
                    <a:pt x="7762" y="24859"/>
                    <a:pt x="7339" y="24194"/>
                  </a:cubicBezTo>
                  <a:cubicBezTo>
                    <a:pt x="6385" y="22695"/>
                    <a:pt x="5482" y="20388"/>
                    <a:pt x="5482" y="20388"/>
                  </a:cubicBezTo>
                  <a:cubicBezTo>
                    <a:pt x="5446" y="20287"/>
                    <a:pt x="2011" y="10245"/>
                    <a:pt x="3046" y="5513"/>
                  </a:cubicBezTo>
                  <a:cubicBezTo>
                    <a:pt x="3349" y="4128"/>
                    <a:pt x="3909" y="3187"/>
                    <a:pt x="4709" y="2718"/>
                  </a:cubicBezTo>
                  <a:cubicBezTo>
                    <a:pt x="5736" y="2116"/>
                    <a:pt x="6899" y="2459"/>
                    <a:pt x="6987" y="2483"/>
                  </a:cubicBezTo>
                  <a:cubicBezTo>
                    <a:pt x="7013" y="2489"/>
                    <a:pt x="11559" y="3088"/>
                    <a:pt x="13472" y="4348"/>
                  </a:cubicBezTo>
                  <a:cubicBezTo>
                    <a:pt x="13472" y="2103"/>
                    <a:pt x="13472" y="2103"/>
                    <a:pt x="13472" y="2103"/>
                  </a:cubicBezTo>
                  <a:cubicBezTo>
                    <a:pt x="11510" y="1084"/>
                    <a:pt x="7532" y="616"/>
                    <a:pt x="7497" y="612"/>
                  </a:cubicBezTo>
                  <a:cubicBezTo>
                    <a:pt x="7416" y="586"/>
                    <a:pt x="5537" y="0"/>
                    <a:pt x="3757" y="1026"/>
                  </a:cubicBezTo>
                  <a:cubicBezTo>
                    <a:pt x="2454" y="1776"/>
                    <a:pt x="1577" y="3146"/>
                    <a:pt x="1150" y="5098"/>
                  </a:cubicBezTo>
                  <a:cubicBezTo>
                    <a:pt x="0" y="10357"/>
                    <a:pt x="3497" y="20589"/>
                    <a:pt x="3659" y="21056"/>
                  </a:cubicBezTo>
                  <a:cubicBezTo>
                    <a:pt x="3699" y="21158"/>
                    <a:pt x="4641" y="23570"/>
                    <a:pt x="5701" y="25236"/>
                  </a:cubicBezTo>
                  <a:cubicBezTo>
                    <a:pt x="6890" y="27106"/>
                    <a:pt x="8182" y="27049"/>
                    <a:pt x="8637" y="26956"/>
                  </a:cubicBezTo>
                  <a:cubicBezTo>
                    <a:pt x="9169" y="26893"/>
                    <a:pt x="10423" y="26488"/>
                    <a:pt x="10714" y="24111"/>
                  </a:cubicBezTo>
                  <a:cubicBezTo>
                    <a:pt x="10750" y="23816"/>
                    <a:pt x="10777" y="23463"/>
                    <a:pt x="10806" y="23073"/>
                  </a:cubicBezTo>
                  <a:cubicBezTo>
                    <a:pt x="11064" y="19618"/>
                    <a:pt x="11622" y="17745"/>
                    <a:pt x="13832" y="17745"/>
                  </a:cubicBezTo>
                  <a:cubicBezTo>
                    <a:pt x="16042" y="17745"/>
                    <a:pt x="16601" y="19617"/>
                    <a:pt x="16858" y="23072"/>
                  </a:cubicBezTo>
                  <a:cubicBezTo>
                    <a:pt x="16887" y="23462"/>
                    <a:pt x="16914" y="23815"/>
                    <a:pt x="16950" y="24111"/>
                  </a:cubicBezTo>
                  <a:cubicBezTo>
                    <a:pt x="17241" y="26488"/>
                    <a:pt x="18495" y="26893"/>
                    <a:pt x="19027" y="26956"/>
                  </a:cubicBezTo>
                  <a:cubicBezTo>
                    <a:pt x="19120" y="26975"/>
                    <a:pt x="19247" y="26993"/>
                    <a:pt x="19401" y="26993"/>
                  </a:cubicBezTo>
                  <a:cubicBezTo>
                    <a:pt x="20003" y="26993"/>
                    <a:pt x="21015" y="26727"/>
                    <a:pt x="21964" y="25236"/>
                  </a:cubicBezTo>
                  <a:cubicBezTo>
                    <a:pt x="23023" y="23570"/>
                    <a:pt x="23965" y="21158"/>
                    <a:pt x="24018" y="21021"/>
                  </a:cubicBezTo>
                  <a:cubicBezTo>
                    <a:pt x="24065" y="20884"/>
                    <a:pt x="25160" y="17689"/>
                    <a:pt x="25954" y="13947"/>
                  </a:cubicBezTo>
                  <a:lnTo>
                    <a:pt x="23969" y="13947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" name="Group 81"/>
          <p:cNvGrpSpPr>
            <a:grpSpLocks noChangeAspect="1"/>
          </p:cNvGrpSpPr>
          <p:nvPr/>
        </p:nvGrpSpPr>
        <p:grpSpPr bwMode="auto">
          <a:xfrm>
            <a:off x="6464215" y="4042626"/>
            <a:ext cx="411151" cy="415755"/>
            <a:chOff x="1752" y="1570"/>
            <a:chExt cx="2679" cy="2709"/>
          </a:xfrm>
        </p:grpSpPr>
        <p:sp>
          <p:nvSpPr>
            <p:cNvPr id="19" name="Freeform 82"/>
            <p:cNvSpPr>
              <a:spLocks/>
            </p:cNvSpPr>
            <p:nvPr/>
          </p:nvSpPr>
          <p:spPr bwMode="auto">
            <a:xfrm>
              <a:off x="2234" y="2512"/>
              <a:ext cx="1741" cy="1767"/>
            </a:xfrm>
            <a:custGeom>
              <a:avLst/>
              <a:gdLst>
                <a:gd name="T0" fmla="*/ 8265 w 16552"/>
                <a:gd name="T1" fmla="*/ 10664 h 16824"/>
                <a:gd name="T2" fmla="*/ 10900 w 16552"/>
                <a:gd name="T3" fmla="*/ 15323 h 16824"/>
                <a:gd name="T4" fmla="*/ 11723 w 16552"/>
                <a:gd name="T5" fmla="*/ 16617 h 16824"/>
                <a:gd name="T6" fmla="*/ 12985 w 16552"/>
                <a:gd name="T7" fmla="*/ 15789 h 16824"/>
                <a:gd name="T8" fmla="*/ 14247 w 16552"/>
                <a:gd name="T9" fmla="*/ 13200 h 16824"/>
                <a:gd name="T10" fmla="*/ 15839 w 16552"/>
                <a:gd name="T11" fmla="*/ 3262 h 16824"/>
                <a:gd name="T12" fmla="*/ 12546 w 16552"/>
                <a:gd name="T13" fmla="*/ 828 h 16824"/>
                <a:gd name="T14" fmla="*/ 9308 w 16552"/>
                <a:gd name="T15" fmla="*/ 2184 h 16824"/>
                <a:gd name="T16" fmla="*/ 8267 w 16552"/>
                <a:gd name="T17" fmla="*/ 2508 h 16824"/>
                <a:gd name="T18" fmla="*/ 8285 w 16552"/>
                <a:gd name="T19" fmla="*/ 2508 h 16824"/>
                <a:gd name="T20" fmla="*/ 7244 w 16552"/>
                <a:gd name="T21" fmla="*/ 2184 h 16824"/>
                <a:gd name="T22" fmla="*/ 4006 w 16552"/>
                <a:gd name="T23" fmla="*/ 828 h 16824"/>
                <a:gd name="T24" fmla="*/ 713 w 16552"/>
                <a:gd name="T25" fmla="*/ 3262 h 16824"/>
                <a:gd name="T26" fmla="*/ 2305 w 16552"/>
                <a:gd name="T27" fmla="*/ 13200 h 16824"/>
                <a:gd name="T28" fmla="*/ 3567 w 16552"/>
                <a:gd name="T29" fmla="*/ 15789 h 16824"/>
                <a:gd name="T30" fmla="*/ 4829 w 16552"/>
                <a:gd name="T31" fmla="*/ 16617 h 16824"/>
                <a:gd name="T32" fmla="*/ 5652 w 16552"/>
                <a:gd name="T33" fmla="*/ 15323 h 16824"/>
                <a:gd name="T34" fmla="*/ 8287 w 16552"/>
                <a:gd name="T35" fmla="*/ 10664 h 16824"/>
                <a:gd name="T36" fmla="*/ 8265 w 16552"/>
                <a:gd name="T37" fmla="*/ 10664 h 16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52" h="16824">
                  <a:moveTo>
                    <a:pt x="8265" y="10664"/>
                  </a:moveTo>
                  <a:cubicBezTo>
                    <a:pt x="10900" y="10664"/>
                    <a:pt x="10735" y="13977"/>
                    <a:pt x="10900" y="15323"/>
                  </a:cubicBezTo>
                  <a:cubicBezTo>
                    <a:pt x="11064" y="16669"/>
                    <a:pt x="11723" y="16617"/>
                    <a:pt x="11723" y="16617"/>
                  </a:cubicBezTo>
                  <a:cubicBezTo>
                    <a:pt x="11723" y="16617"/>
                    <a:pt x="12327" y="16824"/>
                    <a:pt x="12985" y="15789"/>
                  </a:cubicBezTo>
                  <a:cubicBezTo>
                    <a:pt x="13644" y="14753"/>
                    <a:pt x="14247" y="13200"/>
                    <a:pt x="14247" y="13200"/>
                  </a:cubicBezTo>
                  <a:cubicBezTo>
                    <a:pt x="14247" y="13200"/>
                    <a:pt x="16552" y="6523"/>
                    <a:pt x="15839" y="3262"/>
                  </a:cubicBezTo>
                  <a:cubicBezTo>
                    <a:pt x="15125" y="0"/>
                    <a:pt x="12546" y="828"/>
                    <a:pt x="12546" y="828"/>
                  </a:cubicBezTo>
                  <a:cubicBezTo>
                    <a:pt x="12546" y="828"/>
                    <a:pt x="10663" y="1252"/>
                    <a:pt x="9308" y="2184"/>
                  </a:cubicBezTo>
                  <a:cubicBezTo>
                    <a:pt x="9090" y="2334"/>
                    <a:pt x="8727" y="2508"/>
                    <a:pt x="8267" y="2508"/>
                  </a:cubicBezTo>
                  <a:cubicBezTo>
                    <a:pt x="8285" y="2508"/>
                    <a:pt x="8285" y="2508"/>
                    <a:pt x="8285" y="2508"/>
                  </a:cubicBezTo>
                  <a:cubicBezTo>
                    <a:pt x="7825" y="2508"/>
                    <a:pt x="7462" y="2334"/>
                    <a:pt x="7244" y="2184"/>
                  </a:cubicBezTo>
                  <a:cubicBezTo>
                    <a:pt x="5889" y="1252"/>
                    <a:pt x="4006" y="828"/>
                    <a:pt x="4006" y="828"/>
                  </a:cubicBezTo>
                  <a:cubicBezTo>
                    <a:pt x="4006" y="828"/>
                    <a:pt x="1427" y="0"/>
                    <a:pt x="713" y="3262"/>
                  </a:cubicBezTo>
                  <a:cubicBezTo>
                    <a:pt x="0" y="6523"/>
                    <a:pt x="2305" y="13200"/>
                    <a:pt x="2305" y="13200"/>
                  </a:cubicBezTo>
                  <a:cubicBezTo>
                    <a:pt x="2305" y="13200"/>
                    <a:pt x="2908" y="14753"/>
                    <a:pt x="3567" y="15789"/>
                  </a:cubicBezTo>
                  <a:cubicBezTo>
                    <a:pt x="4226" y="16824"/>
                    <a:pt x="4829" y="16617"/>
                    <a:pt x="4829" y="16617"/>
                  </a:cubicBezTo>
                  <a:cubicBezTo>
                    <a:pt x="4829" y="16617"/>
                    <a:pt x="5488" y="16669"/>
                    <a:pt x="5652" y="15323"/>
                  </a:cubicBezTo>
                  <a:cubicBezTo>
                    <a:pt x="5817" y="13977"/>
                    <a:pt x="5652" y="10664"/>
                    <a:pt x="8287" y="10664"/>
                  </a:cubicBezTo>
                  <a:lnTo>
                    <a:pt x="8265" y="10664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83"/>
            <p:cNvSpPr>
              <a:spLocks/>
            </p:cNvSpPr>
            <p:nvPr/>
          </p:nvSpPr>
          <p:spPr bwMode="auto">
            <a:xfrm>
              <a:off x="1752" y="1570"/>
              <a:ext cx="2679" cy="1337"/>
            </a:xfrm>
            <a:custGeom>
              <a:avLst/>
              <a:gdLst>
                <a:gd name="T0" fmla="*/ 25473 w 25473"/>
                <a:gd name="T1" fmla="*/ 12736 h 12736"/>
                <a:gd name="T2" fmla="*/ 23884 w 25473"/>
                <a:gd name="T3" fmla="*/ 12736 h 12736"/>
                <a:gd name="T4" fmla="*/ 12737 w 25473"/>
                <a:gd name="T5" fmla="*/ 1589 h 12736"/>
                <a:gd name="T6" fmla="*/ 1589 w 25473"/>
                <a:gd name="T7" fmla="*/ 12736 h 12736"/>
                <a:gd name="T8" fmla="*/ 0 w 25473"/>
                <a:gd name="T9" fmla="*/ 12736 h 12736"/>
                <a:gd name="T10" fmla="*/ 12737 w 25473"/>
                <a:gd name="T11" fmla="*/ 0 h 12736"/>
                <a:gd name="T12" fmla="*/ 25473 w 25473"/>
                <a:gd name="T13" fmla="*/ 12736 h 1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473" h="12736">
                  <a:moveTo>
                    <a:pt x="25473" y="12736"/>
                  </a:moveTo>
                  <a:cubicBezTo>
                    <a:pt x="23884" y="12736"/>
                    <a:pt x="23884" y="12736"/>
                    <a:pt x="23884" y="12736"/>
                  </a:cubicBezTo>
                  <a:cubicBezTo>
                    <a:pt x="23884" y="6590"/>
                    <a:pt x="18884" y="1589"/>
                    <a:pt x="12737" y="1589"/>
                  </a:cubicBezTo>
                  <a:cubicBezTo>
                    <a:pt x="6590" y="1589"/>
                    <a:pt x="1589" y="6590"/>
                    <a:pt x="1589" y="12736"/>
                  </a:cubicBezTo>
                  <a:cubicBezTo>
                    <a:pt x="0" y="12736"/>
                    <a:pt x="0" y="12736"/>
                    <a:pt x="0" y="12736"/>
                  </a:cubicBezTo>
                  <a:cubicBezTo>
                    <a:pt x="0" y="5714"/>
                    <a:pt x="5714" y="0"/>
                    <a:pt x="12737" y="0"/>
                  </a:cubicBezTo>
                  <a:cubicBezTo>
                    <a:pt x="19759" y="0"/>
                    <a:pt x="25473" y="5714"/>
                    <a:pt x="25473" y="12736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" name="Group 81"/>
          <p:cNvGrpSpPr>
            <a:grpSpLocks noChangeAspect="1"/>
          </p:cNvGrpSpPr>
          <p:nvPr/>
        </p:nvGrpSpPr>
        <p:grpSpPr bwMode="auto">
          <a:xfrm>
            <a:off x="734788" y="4028217"/>
            <a:ext cx="411151" cy="415755"/>
            <a:chOff x="1752" y="1570"/>
            <a:chExt cx="2679" cy="2709"/>
          </a:xfrm>
        </p:grpSpPr>
        <p:sp>
          <p:nvSpPr>
            <p:cNvPr id="22" name="Freeform 82"/>
            <p:cNvSpPr>
              <a:spLocks/>
            </p:cNvSpPr>
            <p:nvPr/>
          </p:nvSpPr>
          <p:spPr bwMode="auto">
            <a:xfrm>
              <a:off x="2234" y="2512"/>
              <a:ext cx="1741" cy="1767"/>
            </a:xfrm>
            <a:custGeom>
              <a:avLst/>
              <a:gdLst>
                <a:gd name="T0" fmla="*/ 8265 w 16552"/>
                <a:gd name="T1" fmla="*/ 10664 h 16824"/>
                <a:gd name="T2" fmla="*/ 10900 w 16552"/>
                <a:gd name="T3" fmla="*/ 15323 h 16824"/>
                <a:gd name="T4" fmla="*/ 11723 w 16552"/>
                <a:gd name="T5" fmla="*/ 16617 h 16824"/>
                <a:gd name="T6" fmla="*/ 12985 w 16552"/>
                <a:gd name="T7" fmla="*/ 15789 h 16824"/>
                <a:gd name="T8" fmla="*/ 14247 w 16552"/>
                <a:gd name="T9" fmla="*/ 13200 h 16824"/>
                <a:gd name="T10" fmla="*/ 15839 w 16552"/>
                <a:gd name="T11" fmla="*/ 3262 h 16824"/>
                <a:gd name="T12" fmla="*/ 12546 w 16552"/>
                <a:gd name="T13" fmla="*/ 828 h 16824"/>
                <a:gd name="T14" fmla="*/ 9308 w 16552"/>
                <a:gd name="T15" fmla="*/ 2184 h 16824"/>
                <a:gd name="T16" fmla="*/ 8267 w 16552"/>
                <a:gd name="T17" fmla="*/ 2508 h 16824"/>
                <a:gd name="T18" fmla="*/ 8285 w 16552"/>
                <a:gd name="T19" fmla="*/ 2508 h 16824"/>
                <a:gd name="T20" fmla="*/ 7244 w 16552"/>
                <a:gd name="T21" fmla="*/ 2184 h 16824"/>
                <a:gd name="T22" fmla="*/ 4006 w 16552"/>
                <a:gd name="T23" fmla="*/ 828 h 16824"/>
                <a:gd name="T24" fmla="*/ 713 w 16552"/>
                <a:gd name="T25" fmla="*/ 3262 h 16824"/>
                <a:gd name="T26" fmla="*/ 2305 w 16552"/>
                <a:gd name="T27" fmla="*/ 13200 h 16824"/>
                <a:gd name="T28" fmla="*/ 3567 w 16552"/>
                <a:gd name="T29" fmla="*/ 15789 h 16824"/>
                <a:gd name="T30" fmla="*/ 4829 w 16552"/>
                <a:gd name="T31" fmla="*/ 16617 h 16824"/>
                <a:gd name="T32" fmla="*/ 5652 w 16552"/>
                <a:gd name="T33" fmla="*/ 15323 h 16824"/>
                <a:gd name="T34" fmla="*/ 8287 w 16552"/>
                <a:gd name="T35" fmla="*/ 10664 h 16824"/>
                <a:gd name="T36" fmla="*/ 8265 w 16552"/>
                <a:gd name="T37" fmla="*/ 10664 h 16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52" h="16824">
                  <a:moveTo>
                    <a:pt x="8265" y="10664"/>
                  </a:moveTo>
                  <a:cubicBezTo>
                    <a:pt x="10900" y="10664"/>
                    <a:pt x="10735" y="13977"/>
                    <a:pt x="10900" y="15323"/>
                  </a:cubicBezTo>
                  <a:cubicBezTo>
                    <a:pt x="11064" y="16669"/>
                    <a:pt x="11723" y="16617"/>
                    <a:pt x="11723" y="16617"/>
                  </a:cubicBezTo>
                  <a:cubicBezTo>
                    <a:pt x="11723" y="16617"/>
                    <a:pt x="12327" y="16824"/>
                    <a:pt x="12985" y="15789"/>
                  </a:cubicBezTo>
                  <a:cubicBezTo>
                    <a:pt x="13644" y="14753"/>
                    <a:pt x="14247" y="13200"/>
                    <a:pt x="14247" y="13200"/>
                  </a:cubicBezTo>
                  <a:cubicBezTo>
                    <a:pt x="14247" y="13200"/>
                    <a:pt x="16552" y="6523"/>
                    <a:pt x="15839" y="3262"/>
                  </a:cubicBezTo>
                  <a:cubicBezTo>
                    <a:pt x="15125" y="0"/>
                    <a:pt x="12546" y="828"/>
                    <a:pt x="12546" y="828"/>
                  </a:cubicBezTo>
                  <a:cubicBezTo>
                    <a:pt x="12546" y="828"/>
                    <a:pt x="10663" y="1252"/>
                    <a:pt x="9308" y="2184"/>
                  </a:cubicBezTo>
                  <a:cubicBezTo>
                    <a:pt x="9090" y="2334"/>
                    <a:pt x="8727" y="2508"/>
                    <a:pt x="8267" y="2508"/>
                  </a:cubicBezTo>
                  <a:cubicBezTo>
                    <a:pt x="8285" y="2508"/>
                    <a:pt x="8285" y="2508"/>
                    <a:pt x="8285" y="2508"/>
                  </a:cubicBezTo>
                  <a:cubicBezTo>
                    <a:pt x="7825" y="2508"/>
                    <a:pt x="7462" y="2334"/>
                    <a:pt x="7244" y="2184"/>
                  </a:cubicBezTo>
                  <a:cubicBezTo>
                    <a:pt x="5889" y="1252"/>
                    <a:pt x="4006" y="828"/>
                    <a:pt x="4006" y="828"/>
                  </a:cubicBezTo>
                  <a:cubicBezTo>
                    <a:pt x="4006" y="828"/>
                    <a:pt x="1427" y="0"/>
                    <a:pt x="713" y="3262"/>
                  </a:cubicBezTo>
                  <a:cubicBezTo>
                    <a:pt x="0" y="6523"/>
                    <a:pt x="2305" y="13200"/>
                    <a:pt x="2305" y="13200"/>
                  </a:cubicBezTo>
                  <a:cubicBezTo>
                    <a:pt x="2305" y="13200"/>
                    <a:pt x="2908" y="14753"/>
                    <a:pt x="3567" y="15789"/>
                  </a:cubicBezTo>
                  <a:cubicBezTo>
                    <a:pt x="4226" y="16824"/>
                    <a:pt x="4829" y="16617"/>
                    <a:pt x="4829" y="16617"/>
                  </a:cubicBezTo>
                  <a:cubicBezTo>
                    <a:pt x="4829" y="16617"/>
                    <a:pt x="5488" y="16669"/>
                    <a:pt x="5652" y="15323"/>
                  </a:cubicBezTo>
                  <a:cubicBezTo>
                    <a:pt x="5817" y="13977"/>
                    <a:pt x="5652" y="10664"/>
                    <a:pt x="8287" y="10664"/>
                  </a:cubicBezTo>
                  <a:lnTo>
                    <a:pt x="8265" y="10664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83"/>
            <p:cNvSpPr>
              <a:spLocks/>
            </p:cNvSpPr>
            <p:nvPr/>
          </p:nvSpPr>
          <p:spPr bwMode="auto">
            <a:xfrm>
              <a:off x="1752" y="1570"/>
              <a:ext cx="2679" cy="1337"/>
            </a:xfrm>
            <a:custGeom>
              <a:avLst/>
              <a:gdLst>
                <a:gd name="T0" fmla="*/ 25473 w 25473"/>
                <a:gd name="T1" fmla="*/ 12736 h 12736"/>
                <a:gd name="T2" fmla="*/ 23884 w 25473"/>
                <a:gd name="T3" fmla="*/ 12736 h 12736"/>
                <a:gd name="T4" fmla="*/ 12737 w 25473"/>
                <a:gd name="T5" fmla="*/ 1589 h 12736"/>
                <a:gd name="T6" fmla="*/ 1589 w 25473"/>
                <a:gd name="T7" fmla="*/ 12736 h 12736"/>
                <a:gd name="T8" fmla="*/ 0 w 25473"/>
                <a:gd name="T9" fmla="*/ 12736 h 12736"/>
                <a:gd name="T10" fmla="*/ 12737 w 25473"/>
                <a:gd name="T11" fmla="*/ 0 h 12736"/>
                <a:gd name="T12" fmla="*/ 25473 w 25473"/>
                <a:gd name="T13" fmla="*/ 12736 h 1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473" h="12736">
                  <a:moveTo>
                    <a:pt x="25473" y="12736"/>
                  </a:moveTo>
                  <a:cubicBezTo>
                    <a:pt x="23884" y="12736"/>
                    <a:pt x="23884" y="12736"/>
                    <a:pt x="23884" y="12736"/>
                  </a:cubicBezTo>
                  <a:cubicBezTo>
                    <a:pt x="23884" y="6590"/>
                    <a:pt x="18884" y="1589"/>
                    <a:pt x="12737" y="1589"/>
                  </a:cubicBezTo>
                  <a:cubicBezTo>
                    <a:pt x="6590" y="1589"/>
                    <a:pt x="1589" y="6590"/>
                    <a:pt x="1589" y="12736"/>
                  </a:cubicBezTo>
                  <a:cubicBezTo>
                    <a:pt x="0" y="12736"/>
                    <a:pt x="0" y="12736"/>
                    <a:pt x="0" y="12736"/>
                  </a:cubicBezTo>
                  <a:cubicBezTo>
                    <a:pt x="0" y="5714"/>
                    <a:pt x="5714" y="0"/>
                    <a:pt x="12737" y="0"/>
                  </a:cubicBezTo>
                  <a:cubicBezTo>
                    <a:pt x="19759" y="0"/>
                    <a:pt x="25473" y="5714"/>
                    <a:pt x="25473" y="12736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1129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Abgerundetes Rechteck 34"/>
          <p:cNvSpPr/>
          <p:nvPr/>
        </p:nvSpPr>
        <p:spPr>
          <a:xfrm>
            <a:off x="538162" y="3921788"/>
            <a:ext cx="5413375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Abgerundetes Rechteck 35"/>
          <p:cNvSpPr/>
          <p:nvPr/>
        </p:nvSpPr>
        <p:spPr>
          <a:xfrm>
            <a:off x="6240463" y="3921789"/>
            <a:ext cx="5390548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7" name="Abgerundetes Rechteck 36"/>
          <p:cNvSpPr/>
          <p:nvPr/>
        </p:nvSpPr>
        <p:spPr>
          <a:xfrm>
            <a:off x="6240463" y="1456584"/>
            <a:ext cx="5390548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8" name="Abgerundetes Rechteck 37"/>
          <p:cNvSpPr/>
          <p:nvPr/>
        </p:nvSpPr>
        <p:spPr>
          <a:xfrm>
            <a:off x="538163" y="1456585"/>
            <a:ext cx="5413374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viduelle Leistungsbausteine – ambulante Behandl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8"/>
          </p:nvPr>
        </p:nvSpPr>
        <p:spPr>
          <a:xfrm>
            <a:off x="407988" y="1674313"/>
            <a:ext cx="5543550" cy="2124537"/>
          </a:xfrm>
        </p:spPr>
        <p:txBody>
          <a:bodyPr/>
          <a:lstStyle/>
          <a:p>
            <a:pPr algn="ctr"/>
            <a:r>
              <a:rPr lang="de-DE" dirty="0"/>
              <a:t>Gesündere Mitarbeiter </a:t>
            </a:r>
            <a:br>
              <a:rPr lang="de-DE" dirty="0"/>
            </a:br>
            <a:r>
              <a:rPr lang="de-DE" dirty="0"/>
              <a:t>durch Vorsorge (BKV)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Umfassende Vorsorgeleistungen</a:t>
            </a:r>
          </a:p>
          <a:p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9"/>
          </p:nvPr>
        </p:nvSpPr>
        <p:spPr>
          <a:xfrm>
            <a:off x="6240464" y="1674313"/>
            <a:ext cx="5543550" cy="2124537"/>
          </a:xfrm>
        </p:spPr>
        <p:txBody>
          <a:bodyPr/>
          <a:lstStyle/>
          <a:p>
            <a:pPr algn="ctr"/>
            <a:r>
              <a:rPr lang="de-DE" dirty="0"/>
              <a:t>Gesündere Mitarbeiter </a:t>
            </a:r>
            <a:br>
              <a:rPr lang="de-DE" dirty="0"/>
            </a:br>
            <a:r>
              <a:rPr lang="de-DE" dirty="0"/>
              <a:t>durch Vorsorge (BKVP)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Umfassende Vorsorgeleistungen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Primärprävention, Aufklärung, Stressbewältigung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20"/>
          </p:nvPr>
        </p:nvSpPr>
        <p:spPr>
          <a:xfrm>
            <a:off x="407988" y="4086851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Kostenentlastung </a:t>
            </a:r>
            <a:br>
              <a:rPr lang="de-DE" dirty="0">
                <a:solidFill>
                  <a:srgbClr val="00A075"/>
                </a:solidFill>
              </a:rPr>
            </a:br>
            <a:r>
              <a:rPr lang="de-DE" dirty="0">
                <a:solidFill>
                  <a:srgbClr val="00A075"/>
                </a:solidFill>
              </a:rPr>
              <a:t>beim Optiker (BKS)</a:t>
            </a:r>
          </a:p>
          <a:p>
            <a:pPr algn="ctr"/>
            <a:r>
              <a:rPr lang="de-DE" dirty="0">
                <a:solidFill>
                  <a:prstClr val="black"/>
                </a:solidFill>
              </a:rPr>
              <a:t>Bis zu 200,- Euro alle 24 Monate für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Brillen oder Kontaktlinsen</a:t>
            </a:r>
          </a:p>
          <a:p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21"/>
          </p:nvPr>
        </p:nvSpPr>
        <p:spPr>
          <a:xfrm>
            <a:off x="6292580" y="4016579"/>
            <a:ext cx="5491434" cy="2194809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Privatärztliche </a:t>
            </a:r>
            <a:br>
              <a:rPr lang="de-DE" dirty="0">
                <a:solidFill>
                  <a:srgbClr val="00A075"/>
                </a:solidFill>
              </a:rPr>
            </a:br>
            <a:r>
              <a:rPr lang="de-DE" dirty="0">
                <a:solidFill>
                  <a:srgbClr val="00A075"/>
                </a:solidFill>
              </a:rPr>
              <a:t>Alternativmedizin (BKH)</a:t>
            </a:r>
          </a:p>
          <a:p>
            <a:pPr algn="ctr"/>
            <a:r>
              <a:rPr lang="de-DE" dirty="0">
                <a:solidFill>
                  <a:prstClr val="black"/>
                </a:solidFill>
              </a:rPr>
              <a:t>80% bis zu einem jährlichen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Rechnungsbetrag von 500,- Euro</a:t>
            </a:r>
          </a:p>
          <a:p>
            <a:endParaRPr lang="de-DE" dirty="0"/>
          </a:p>
        </p:txBody>
      </p:sp>
      <p:grpSp>
        <p:nvGrpSpPr>
          <p:cNvPr id="10" name="Gruppieren 9"/>
          <p:cNvGrpSpPr>
            <a:grpSpLocks noChangeAspect="1"/>
          </p:cNvGrpSpPr>
          <p:nvPr/>
        </p:nvGrpSpPr>
        <p:grpSpPr bwMode="gray">
          <a:xfrm>
            <a:off x="697751" y="1674214"/>
            <a:ext cx="447340" cy="415561"/>
            <a:chOff x="10566400" y="1617663"/>
            <a:chExt cx="581026" cy="539750"/>
          </a:xfrm>
        </p:grpSpPr>
        <p:sp>
          <p:nvSpPr>
            <p:cNvPr id="11" name="Freeform 27"/>
            <p:cNvSpPr>
              <a:spLocks/>
            </p:cNvSpPr>
            <p:nvPr/>
          </p:nvSpPr>
          <p:spPr bwMode="gray">
            <a:xfrm>
              <a:off x="10817225" y="1735138"/>
              <a:ext cx="323850" cy="322263"/>
            </a:xfrm>
            <a:custGeom>
              <a:avLst/>
              <a:gdLst>
                <a:gd name="T0" fmla="*/ 134 w 204"/>
                <a:gd name="T1" fmla="*/ 0 h 203"/>
                <a:gd name="T2" fmla="*/ 69 w 204"/>
                <a:gd name="T3" fmla="*/ 0 h 203"/>
                <a:gd name="T4" fmla="*/ 69 w 204"/>
                <a:gd name="T5" fmla="*/ 69 h 203"/>
                <a:gd name="T6" fmla="*/ 0 w 204"/>
                <a:gd name="T7" fmla="*/ 69 h 203"/>
                <a:gd name="T8" fmla="*/ 0 w 204"/>
                <a:gd name="T9" fmla="*/ 134 h 203"/>
                <a:gd name="T10" fmla="*/ 69 w 204"/>
                <a:gd name="T11" fmla="*/ 134 h 203"/>
                <a:gd name="T12" fmla="*/ 69 w 204"/>
                <a:gd name="T13" fmla="*/ 203 h 203"/>
                <a:gd name="T14" fmla="*/ 134 w 204"/>
                <a:gd name="T15" fmla="*/ 203 h 203"/>
                <a:gd name="T16" fmla="*/ 134 w 204"/>
                <a:gd name="T17" fmla="*/ 134 h 203"/>
                <a:gd name="T18" fmla="*/ 204 w 204"/>
                <a:gd name="T19" fmla="*/ 134 h 203"/>
                <a:gd name="T20" fmla="*/ 204 w 204"/>
                <a:gd name="T21" fmla="*/ 69 h 203"/>
                <a:gd name="T22" fmla="*/ 134 w 204"/>
                <a:gd name="T23" fmla="*/ 69 h 203"/>
                <a:gd name="T24" fmla="*/ 134 w 204"/>
                <a:gd name="T25" fmla="*/ 0 h 203"/>
                <a:gd name="T26" fmla="*/ 134 w 204"/>
                <a:gd name="T2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203">
                  <a:moveTo>
                    <a:pt x="134" y="0"/>
                  </a:moveTo>
                  <a:lnTo>
                    <a:pt x="69" y="0"/>
                  </a:lnTo>
                  <a:lnTo>
                    <a:pt x="69" y="69"/>
                  </a:lnTo>
                  <a:lnTo>
                    <a:pt x="0" y="69"/>
                  </a:lnTo>
                  <a:lnTo>
                    <a:pt x="0" y="134"/>
                  </a:lnTo>
                  <a:lnTo>
                    <a:pt x="69" y="134"/>
                  </a:lnTo>
                  <a:lnTo>
                    <a:pt x="69" y="203"/>
                  </a:lnTo>
                  <a:lnTo>
                    <a:pt x="134" y="203"/>
                  </a:lnTo>
                  <a:lnTo>
                    <a:pt x="134" y="134"/>
                  </a:lnTo>
                  <a:lnTo>
                    <a:pt x="204" y="134"/>
                  </a:lnTo>
                  <a:lnTo>
                    <a:pt x="204" y="69"/>
                  </a:lnTo>
                  <a:lnTo>
                    <a:pt x="134" y="69"/>
                  </a:lnTo>
                  <a:lnTo>
                    <a:pt x="13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  <p:sp>
          <p:nvSpPr>
            <p:cNvPr id="12" name="Freeform 28"/>
            <p:cNvSpPr>
              <a:spLocks/>
            </p:cNvSpPr>
            <p:nvPr/>
          </p:nvSpPr>
          <p:spPr bwMode="gray">
            <a:xfrm>
              <a:off x="10566400" y="1617663"/>
              <a:ext cx="581026" cy="539750"/>
            </a:xfrm>
            <a:custGeom>
              <a:avLst/>
              <a:gdLst>
                <a:gd name="T0" fmla="*/ 17236 w 18882"/>
                <a:gd name="T1" fmla="*/ 1613 h 17656"/>
                <a:gd name="T2" fmla="*/ 13494 w 18882"/>
                <a:gd name="T3" fmla="*/ 0 h 17656"/>
                <a:gd name="T4" fmla="*/ 9751 w 18882"/>
                <a:gd name="T5" fmla="*/ 1614 h 17656"/>
                <a:gd name="T6" fmla="*/ 9624 w 18882"/>
                <a:gd name="T7" fmla="*/ 1747 h 17656"/>
                <a:gd name="T8" fmla="*/ 9497 w 18882"/>
                <a:gd name="T9" fmla="*/ 1614 h 17656"/>
                <a:gd name="T10" fmla="*/ 5754 w 18882"/>
                <a:gd name="T11" fmla="*/ 0 h 17656"/>
                <a:gd name="T12" fmla="*/ 2013 w 18882"/>
                <a:gd name="T13" fmla="*/ 1613 h 17656"/>
                <a:gd name="T14" fmla="*/ 1994 w 18882"/>
                <a:gd name="T15" fmla="*/ 9535 h 17656"/>
                <a:gd name="T16" fmla="*/ 9625 w 18882"/>
                <a:gd name="T17" fmla="*/ 17656 h 17656"/>
                <a:gd name="T18" fmla="*/ 11603 w 18882"/>
                <a:gd name="T19" fmla="*/ 15550 h 17656"/>
                <a:gd name="T20" fmla="*/ 10394 w 18882"/>
                <a:gd name="T21" fmla="*/ 15550 h 17656"/>
                <a:gd name="T22" fmla="*/ 9624 w 18882"/>
                <a:gd name="T23" fmla="*/ 16370 h 17656"/>
                <a:gd name="T24" fmla="*/ 2640 w 18882"/>
                <a:gd name="T25" fmla="*/ 8929 h 17656"/>
                <a:gd name="T26" fmla="*/ 2653 w 18882"/>
                <a:gd name="T27" fmla="*/ 2225 h 17656"/>
                <a:gd name="T28" fmla="*/ 5754 w 18882"/>
                <a:gd name="T29" fmla="*/ 885 h 17656"/>
                <a:gd name="T30" fmla="*/ 8857 w 18882"/>
                <a:gd name="T31" fmla="*/ 2227 h 17656"/>
                <a:gd name="T32" fmla="*/ 9625 w 18882"/>
                <a:gd name="T33" fmla="*/ 3027 h 17656"/>
                <a:gd name="T34" fmla="*/ 10392 w 18882"/>
                <a:gd name="T35" fmla="*/ 2226 h 17656"/>
                <a:gd name="T36" fmla="*/ 13494 w 18882"/>
                <a:gd name="T37" fmla="*/ 885 h 17656"/>
                <a:gd name="T38" fmla="*/ 16595 w 18882"/>
                <a:gd name="T39" fmla="*/ 2225 h 17656"/>
                <a:gd name="T40" fmla="*/ 17813 w 18882"/>
                <a:gd name="T41" fmla="*/ 6249 h 17656"/>
                <a:gd name="T42" fmla="*/ 18703 w 18882"/>
                <a:gd name="T43" fmla="*/ 6249 h 17656"/>
                <a:gd name="T44" fmla="*/ 17236 w 18882"/>
                <a:gd name="T45" fmla="*/ 1613 h 17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882" h="17656">
                  <a:moveTo>
                    <a:pt x="17236" y="1613"/>
                  </a:moveTo>
                  <a:cubicBezTo>
                    <a:pt x="16239" y="572"/>
                    <a:pt x="14910" y="0"/>
                    <a:pt x="13494" y="0"/>
                  </a:cubicBezTo>
                  <a:cubicBezTo>
                    <a:pt x="12076" y="0"/>
                    <a:pt x="10747" y="572"/>
                    <a:pt x="9751" y="1614"/>
                  </a:cubicBezTo>
                  <a:cubicBezTo>
                    <a:pt x="9624" y="1747"/>
                    <a:pt x="9624" y="1747"/>
                    <a:pt x="9624" y="1747"/>
                  </a:cubicBezTo>
                  <a:cubicBezTo>
                    <a:pt x="9497" y="1614"/>
                    <a:pt x="9497" y="1614"/>
                    <a:pt x="9497" y="1614"/>
                  </a:cubicBezTo>
                  <a:cubicBezTo>
                    <a:pt x="8501" y="572"/>
                    <a:pt x="7172" y="0"/>
                    <a:pt x="5754" y="0"/>
                  </a:cubicBezTo>
                  <a:cubicBezTo>
                    <a:pt x="4337" y="0"/>
                    <a:pt x="3009" y="572"/>
                    <a:pt x="2013" y="1613"/>
                  </a:cubicBezTo>
                  <a:cubicBezTo>
                    <a:pt x="9" y="3709"/>
                    <a:pt x="0" y="7410"/>
                    <a:pt x="1994" y="9535"/>
                  </a:cubicBezTo>
                  <a:cubicBezTo>
                    <a:pt x="9625" y="17656"/>
                    <a:pt x="9625" y="17656"/>
                    <a:pt x="9625" y="17656"/>
                  </a:cubicBezTo>
                  <a:cubicBezTo>
                    <a:pt x="11603" y="15550"/>
                    <a:pt x="11603" y="15550"/>
                    <a:pt x="11603" y="15550"/>
                  </a:cubicBezTo>
                  <a:cubicBezTo>
                    <a:pt x="10394" y="15550"/>
                    <a:pt x="10394" y="15550"/>
                    <a:pt x="10394" y="15550"/>
                  </a:cubicBezTo>
                  <a:cubicBezTo>
                    <a:pt x="9624" y="16370"/>
                    <a:pt x="9624" y="16370"/>
                    <a:pt x="9624" y="16370"/>
                  </a:cubicBezTo>
                  <a:cubicBezTo>
                    <a:pt x="2640" y="8929"/>
                    <a:pt x="2640" y="8929"/>
                    <a:pt x="2640" y="8929"/>
                  </a:cubicBezTo>
                  <a:cubicBezTo>
                    <a:pt x="953" y="7129"/>
                    <a:pt x="959" y="3998"/>
                    <a:pt x="2653" y="2225"/>
                  </a:cubicBezTo>
                  <a:cubicBezTo>
                    <a:pt x="3480" y="1361"/>
                    <a:pt x="4582" y="885"/>
                    <a:pt x="5754" y="885"/>
                  </a:cubicBezTo>
                  <a:cubicBezTo>
                    <a:pt x="6928" y="885"/>
                    <a:pt x="8030" y="1361"/>
                    <a:pt x="8857" y="2227"/>
                  </a:cubicBezTo>
                  <a:cubicBezTo>
                    <a:pt x="9625" y="3027"/>
                    <a:pt x="9625" y="3027"/>
                    <a:pt x="9625" y="3027"/>
                  </a:cubicBezTo>
                  <a:cubicBezTo>
                    <a:pt x="10392" y="2226"/>
                    <a:pt x="10392" y="2226"/>
                    <a:pt x="10392" y="2226"/>
                  </a:cubicBezTo>
                  <a:cubicBezTo>
                    <a:pt x="11218" y="1361"/>
                    <a:pt x="12320" y="885"/>
                    <a:pt x="13494" y="885"/>
                  </a:cubicBezTo>
                  <a:cubicBezTo>
                    <a:pt x="14667" y="885"/>
                    <a:pt x="15769" y="1361"/>
                    <a:pt x="16595" y="2225"/>
                  </a:cubicBezTo>
                  <a:cubicBezTo>
                    <a:pt x="17600" y="3276"/>
                    <a:pt x="17996" y="4804"/>
                    <a:pt x="17813" y="6249"/>
                  </a:cubicBezTo>
                  <a:cubicBezTo>
                    <a:pt x="18703" y="6249"/>
                    <a:pt x="18703" y="6249"/>
                    <a:pt x="18703" y="6249"/>
                  </a:cubicBezTo>
                  <a:cubicBezTo>
                    <a:pt x="18882" y="4578"/>
                    <a:pt x="18396" y="2826"/>
                    <a:pt x="17236" y="1613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</p:grpSp>
      <p:grpSp>
        <p:nvGrpSpPr>
          <p:cNvPr id="13" name="Gruppieren 12"/>
          <p:cNvGrpSpPr>
            <a:grpSpLocks noChangeAspect="1"/>
          </p:cNvGrpSpPr>
          <p:nvPr/>
        </p:nvGrpSpPr>
        <p:grpSpPr bwMode="gray">
          <a:xfrm>
            <a:off x="6499734" y="1658400"/>
            <a:ext cx="447340" cy="415561"/>
            <a:chOff x="10566400" y="1617663"/>
            <a:chExt cx="581026" cy="539750"/>
          </a:xfrm>
        </p:grpSpPr>
        <p:sp>
          <p:nvSpPr>
            <p:cNvPr id="14" name="Freeform 27"/>
            <p:cNvSpPr>
              <a:spLocks/>
            </p:cNvSpPr>
            <p:nvPr/>
          </p:nvSpPr>
          <p:spPr bwMode="gray">
            <a:xfrm>
              <a:off x="10817225" y="1735138"/>
              <a:ext cx="323850" cy="322263"/>
            </a:xfrm>
            <a:custGeom>
              <a:avLst/>
              <a:gdLst>
                <a:gd name="T0" fmla="*/ 134 w 204"/>
                <a:gd name="T1" fmla="*/ 0 h 203"/>
                <a:gd name="T2" fmla="*/ 69 w 204"/>
                <a:gd name="T3" fmla="*/ 0 h 203"/>
                <a:gd name="T4" fmla="*/ 69 w 204"/>
                <a:gd name="T5" fmla="*/ 69 h 203"/>
                <a:gd name="T6" fmla="*/ 0 w 204"/>
                <a:gd name="T7" fmla="*/ 69 h 203"/>
                <a:gd name="T8" fmla="*/ 0 w 204"/>
                <a:gd name="T9" fmla="*/ 134 h 203"/>
                <a:gd name="T10" fmla="*/ 69 w 204"/>
                <a:gd name="T11" fmla="*/ 134 h 203"/>
                <a:gd name="T12" fmla="*/ 69 w 204"/>
                <a:gd name="T13" fmla="*/ 203 h 203"/>
                <a:gd name="T14" fmla="*/ 134 w 204"/>
                <a:gd name="T15" fmla="*/ 203 h 203"/>
                <a:gd name="T16" fmla="*/ 134 w 204"/>
                <a:gd name="T17" fmla="*/ 134 h 203"/>
                <a:gd name="T18" fmla="*/ 204 w 204"/>
                <a:gd name="T19" fmla="*/ 134 h 203"/>
                <a:gd name="T20" fmla="*/ 204 w 204"/>
                <a:gd name="T21" fmla="*/ 69 h 203"/>
                <a:gd name="T22" fmla="*/ 134 w 204"/>
                <a:gd name="T23" fmla="*/ 69 h 203"/>
                <a:gd name="T24" fmla="*/ 134 w 204"/>
                <a:gd name="T25" fmla="*/ 0 h 203"/>
                <a:gd name="T26" fmla="*/ 134 w 204"/>
                <a:gd name="T2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203">
                  <a:moveTo>
                    <a:pt x="134" y="0"/>
                  </a:moveTo>
                  <a:lnTo>
                    <a:pt x="69" y="0"/>
                  </a:lnTo>
                  <a:lnTo>
                    <a:pt x="69" y="69"/>
                  </a:lnTo>
                  <a:lnTo>
                    <a:pt x="0" y="69"/>
                  </a:lnTo>
                  <a:lnTo>
                    <a:pt x="0" y="134"/>
                  </a:lnTo>
                  <a:lnTo>
                    <a:pt x="69" y="134"/>
                  </a:lnTo>
                  <a:lnTo>
                    <a:pt x="69" y="203"/>
                  </a:lnTo>
                  <a:lnTo>
                    <a:pt x="134" y="203"/>
                  </a:lnTo>
                  <a:lnTo>
                    <a:pt x="134" y="134"/>
                  </a:lnTo>
                  <a:lnTo>
                    <a:pt x="204" y="134"/>
                  </a:lnTo>
                  <a:lnTo>
                    <a:pt x="204" y="69"/>
                  </a:lnTo>
                  <a:lnTo>
                    <a:pt x="134" y="69"/>
                  </a:lnTo>
                  <a:lnTo>
                    <a:pt x="13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  <p:sp>
          <p:nvSpPr>
            <p:cNvPr id="15" name="Freeform 28"/>
            <p:cNvSpPr>
              <a:spLocks/>
            </p:cNvSpPr>
            <p:nvPr/>
          </p:nvSpPr>
          <p:spPr bwMode="gray">
            <a:xfrm>
              <a:off x="10566400" y="1617663"/>
              <a:ext cx="581026" cy="539750"/>
            </a:xfrm>
            <a:custGeom>
              <a:avLst/>
              <a:gdLst>
                <a:gd name="T0" fmla="*/ 17236 w 18882"/>
                <a:gd name="T1" fmla="*/ 1613 h 17656"/>
                <a:gd name="T2" fmla="*/ 13494 w 18882"/>
                <a:gd name="T3" fmla="*/ 0 h 17656"/>
                <a:gd name="T4" fmla="*/ 9751 w 18882"/>
                <a:gd name="T5" fmla="*/ 1614 h 17656"/>
                <a:gd name="T6" fmla="*/ 9624 w 18882"/>
                <a:gd name="T7" fmla="*/ 1747 h 17656"/>
                <a:gd name="T8" fmla="*/ 9497 w 18882"/>
                <a:gd name="T9" fmla="*/ 1614 h 17656"/>
                <a:gd name="T10" fmla="*/ 5754 w 18882"/>
                <a:gd name="T11" fmla="*/ 0 h 17656"/>
                <a:gd name="T12" fmla="*/ 2013 w 18882"/>
                <a:gd name="T13" fmla="*/ 1613 h 17656"/>
                <a:gd name="T14" fmla="*/ 1994 w 18882"/>
                <a:gd name="T15" fmla="*/ 9535 h 17656"/>
                <a:gd name="T16" fmla="*/ 9625 w 18882"/>
                <a:gd name="T17" fmla="*/ 17656 h 17656"/>
                <a:gd name="T18" fmla="*/ 11603 w 18882"/>
                <a:gd name="T19" fmla="*/ 15550 h 17656"/>
                <a:gd name="T20" fmla="*/ 10394 w 18882"/>
                <a:gd name="T21" fmla="*/ 15550 h 17656"/>
                <a:gd name="T22" fmla="*/ 9624 w 18882"/>
                <a:gd name="T23" fmla="*/ 16370 h 17656"/>
                <a:gd name="T24" fmla="*/ 2640 w 18882"/>
                <a:gd name="T25" fmla="*/ 8929 h 17656"/>
                <a:gd name="T26" fmla="*/ 2653 w 18882"/>
                <a:gd name="T27" fmla="*/ 2225 h 17656"/>
                <a:gd name="T28" fmla="*/ 5754 w 18882"/>
                <a:gd name="T29" fmla="*/ 885 h 17656"/>
                <a:gd name="T30" fmla="*/ 8857 w 18882"/>
                <a:gd name="T31" fmla="*/ 2227 h 17656"/>
                <a:gd name="T32" fmla="*/ 9625 w 18882"/>
                <a:gd name="T33" fmla="*/ 3027 h 17656"/>
                <a:gd name="T34" fmla="*/ 10392 w 18882"/>
                <a:gd name="T35" fmla="*/ 2226 h 17656"/>
                <a:gd name="T36" fmla="*/ 13494 w 18882"/>
                <a:gd name="T37" fmla="*/ 885 h 17656"/>
                <a:gd name="T38" fmla="*/ 16595 w 18882"/>
                <a:gd name="T39" fmla="*/ 2225 h 17656"/>
                <a:gd name="T40" fmla="*/ 17813 w 18882"/>
                <a:gd name="T41" fmla="*/ 6249 h 17656"/>
                <a:gd name="T42" fmla="*/ 18703 w 18882"/>
                <a:gd name="T43" fmla="*/ 6249 h 17656"/>
                <a:gd name="T44" fmla="*/ 17236 w 18882"/>
                <a:gd name="T45" fmla="*/ 1613 h 17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882" h="17656">
                  <a:moveTo>
                    <a:pt x="17236" y="1613"/>
                  </a:moveTo>
                  <a:cubicBezTo>
                    <a:pt x="16239" y="572"/>
                    <a:pt x="14910" y="0"/>
                    <a:pt x="13494" y="0"/>
                  </a:cubicBezTo>
                  <a:cubicBezTo>
                    <a:pt x="12076" y="0"/>
                    <a:pt x="10747" y="572"/>
                    <a:pt x="9751" y="1614"/>
                  </a:cubicBezTo>
                  <a:cubicBezTo>
                    <a:pt x="9624" y="1747"/>
                    <a:pt x="9624" y="1747"/>
                    <a:pt x="9624" y="1747"/>
                  </a:cubicBezTo>
                  <a:cubicBezTo>
                    <a:pt x="9497" y="1614"/>
                    <a:pt x="9497" y="1614"/>
                    <a:pt x="9497" y="1614"/>
                  </a:cubicBezTo>
                  <a:cubicBezTo>
                    <a:pt x="8501" y="572"/>
                    <a:pt x="7172" y="0"/>
                    <a:pt x="5754" y="0"/>
                  </a:cubicBezTo>
                  <a:cubicBezTo>
                    <a:pt x="4337" y="0"/>
                    <a:pt x="3009" y="572"/>
                    <a:pt x="2013" y="1613"/>
                  </a:cubicBezTo>
                  <a:cubicBezTo>
                    <a:pt x="9" y="3709"/>
                    <a:pt x="0" y="7410"/>
                    <a:pt x="1994" y="9535"/>
                  </a:cubicBezTo>
                  <a:cubicBezTo>
                    <a:pt x="9625" y="17656"/>
                    <a:pt x="9625" y="17656"/>
                    <a:pt x="9625" y="17656"/>
                  </a:cubicBezTo>
                  <a:cubicBezTo>
                    <a:pt x="11603" y="15550"/>
                    <a:pt x="11603" y="15550"/>
                    <a:pt x="11603" y="15550"/>
                  </a:cubicBezTo>
                  <a:cubicBezTo>
                    <a:pt x="10394" y="15550"/>
                    <a:pt x="10394" y="15550"/>
                    <a:pt x="10394" y="15550"/>
                  </a:cubicBezTo>
                  <a:cubicBezTo>
                    <a:pt x="9624" y="16370"/>
                    <a:pt x="9624" y="16370"/>
                    <a:pt x="9624" y="16370"/>
                  </a:cubicBezTo>
                  <a:cubicBezTo>
                    <a:pt x="2640" y="8929"/>
                    <a:pt x="2640" y="8929"/>
                    <a:pt x="2640" y="8929"/>
                  </a:cubicBezTo>
                  <a:cubicBezTo>
                    <a:pt x="953" y="7129"/>
                    <a:pt x="959" y="3998"/>
                    <a:pt x="2653" y="2225"/>
                  </a:cubicBezTo>
                  <a:cubicBezTo>
                    <a:pt x="3480" y="1361"/>
                    <a:pt x="4582" y="885"/>
                    <a:pt x="5754" y="885"/>
                  </a:cubicBezTo>
                  <a:cubicBezTo>
                    <a:pt x="6928" y="885"/>
                    <a:pt x="8030" y="1361"/>
                    <a:pt x="8857" y="2227"/>
                  </a:cubicBezTo>
                  <a:cubicBezTo>
                    <a:pt x="9625" y="3027"/>
                    <a:pt x="9625" y="3027"/>
                    <a:pt x="9625" y="3027"/>
                  </a:cubicBezTo>
                  <a:cubicBezTo>
                    <a:pt x="10392" y="2226"/>
                    <a:pt x="10392" y="2226"/>
                    <a:pt x="10392" y="2226"/>
                  </a:cubicBezTo>
                  <a:cubicBezTo>
                    <a:pt x="11218" y="1361"/>
                    <a:pt x="12320" y="885"/>
                    <a:pt x="13494" y="885"/>
                  </a:cubicBezTo>
                  <a:cubicBezTo>
                    <a:pt x="14667" y="885"/>
                    <a:pt x="15769" y="1361"/>
                    <a:pt x="16595" y="2225"/>
                  </a:cubicBezTo>
                  <a:cubicBezTo>
                    <a:pt x="17600" y="3276"/>
                    <a:pt x="17996" y="4804"/>
                    <a:pt x="17813" y="6249"/>
                  </a:cubicBezTo>
                  <a:cubicBezTo>
                    <a:pt x="18703" y="6249"/>
                    <a:pt x="18703" y="6249"/>
                    <a:pt x="18703" y="6249"/>
                  </a:cubicBezTo>
                  <a:cubicBezTo>
                    <a:pt x="18882" y="4578"/>
                    <a:pt x="18396" y="2826"/>
                    <a:pt x="17236" y="1613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664914" y="4069019"/>
            <a:ext cx="513013" cy="415755"/>
            <a:chOff x="3360" y="1769"/>
            <a:chExt cx="960" cy="778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3978" y="1769"/>
              <a:ext cx="149" cy="81"/>
            </a:xfrm>
            <a:custGeom>
              <a:avLst/>
              <a:gdLst>
                <a:gd name="T0" fmla="*/ 5641 w 8733"/>
                <a:gd name="T1" fmla="*/ 4772 h 4772"/>
                <a:gd name="T2" fmla="*/ 4533 w 8733"/>
                <a:gd name="T3" fmla="*/ 3827 h 4772"/>
                <a:gd name="T4" fmla="*/ 1500 w 8733"/>
                <a:gd name="T5" fmla="*/ 4133 h 4772"/>
                <a:gd name="T6" fmla="*/ 0 w 8733"/>
                <a:gd name="T7" fmla="*/ 1079 h 4772"/>
                <a:gd name="T8" fmla="*/ 5675 w 8733"/>
                <a:gd name="T9" fmla="*/ 622 h 4772"/>
                <a:gd name="T10" fmla="*/ 8733 w 8733"/>
                <a:gd name="T11" fmla="*/ 3355 h 4772"/>
                <a:gd name="T12" fmla="*/ 5641 w 8733"/>
                <a:gd name="T13" fmla="*/ 4772 h 4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33" h="4772">
                  <a:moveTo>
                    <a:pt x="5641" y="4772"/>
                  </a:moveTo>
                  <a:cubicBezTo>
                    <a:pt x="5391" y="4229"/>
                    <a:pt x="4901" y="3958"/>
                    <a:pt x="4533" y="3827"/>
                  </a:cubicBezTo>
                  <a:cubicBezTo>
                    <a:pt x="3655" y="3515"/>
                    <a:pt x="2523" y="3629"/>
                    <a:pt x="1500" y="4133"/>
                  </a:cubicBezTo>
                  <a:cubicBezTo>
                    <a:pt x="0" y="1079"/>
                    <a:pt x="0" y="1079"/>
                    <a:pt x="0" y="1079"/>
                  </a:cubicBezTo>
                  <a:cubicBezTo>
                    <a:pt x="1859" y="164"/>
                    <a:pt x="3927" y="0"/>
                    <a:pt x="5675" y="622"/>
                  </a:cubicBezTo>
                  <a:cubicBezTo>
                    <a:pt x="7067" y="1119"/>
                    <a:pt x="8153" y="2090"/>
                    <a:pt x="8733" y="3355"/>
                  </a:cubicBezTo>
                  <a:lnTo>
                    <a:pt x="5641" y="4772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3548" y="1769"/>
              <a:ext cx="148" cy="81"/>
            </a:xfrm>
            <a:custGeom>
              <a:avLst/>
              <a:gdLst>
                <a:gd name="T0" fmla="*/ 3093 w 8733"/>
                <a:gd name="T1" fmla="*/ 4772 h 4772"/>
                <a:gd name="T2" fmla="*/ 0 w 8733"/>
                <a:gd name="T3" fmla="*/ 3354 h 4772"/>
                <a:gd name="T4" fmla="*/ 3058 w 8733"/>
                <a:gd name="T5" fmla="*/ 621 h 4772"/>
                <a:gd name="T6" fmla="*/ 8733 w 8733"/>
                <a:gd name="T7" fmla="*/ 1077 h 4772"/>
                <a:gd name="T8" fmla="*/ 7235 w 8733"/>
                <a:gd name="T9" fmla="*/ 4131 h 4772"/>
                <a:gd name="T10" fmla="*/ 4201 w 8733"/>
                <a:gd name="T11" fmla="*/ 3826 h 4772"/>
                <a:gd name="T12" fmla="*/ 3093 w 8733"/>
                <a:gd name="T13" fmla="*/ 4772 h 4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33" h="4772">
                  <a:moveTo>
                    <a:pt x="3093" y="4772"/>
                  </a:moveTo>
                  <a:cubicBezTo>
                    <a:pt x="0" y="3354"/>
                    <a:pt x="0" y="3354"/>
                    <a:pt x="0" y="3354"/>
                  </a:cubicBezTo>
                  <a:cubicBezTo>
                    <a:pt x="580" y="2089"/>
                    <a:pt x="1666" y="1118"/>
                    <a:pt x="3058" y="621"/>
                  </a:cubicBezTo>
                  <a:cubicBezTo>
                    <a:pt x="4807" y="0"/>
                    <a:pt x="6875" y="166"/>
                    <a:pt x="8733" y="1077"/>
                  </a:cubicBezTo>
                  <a:cubicBezTo>
                    <a:pt x="7235" y="4131"/>
                    <a:pt x="7235" y="4131"/>
                    <a:pt x="7235" y="4131"/>
                  </a:cubicBezTo>
                  <a:cubicBezTo>
                    <a:pt x="6210" y="3628"/>
                    <a:pt x="5076" y="3516"/>
                    <a:pt x="4201" y="3826"/>
                  </a:cubicBezTo>
                  <a:cubicBezTo>
                    <a:pt x="3833" y="3958"/>
                    <a:pt x="3342" y="4228"/>
                    <a:pt x="3093" y="4772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761" y="2166"/>
              <a:ext cx="152" cy="58"/>
            </a:xfrm>
            <a:custGeom>
              <a:avLst/>
              <a:gdLst>
                <a:gd name="T0" fmla="*/ 8908 w 8908"/>
                <a:gd name="T1" fmla="*/ 1425 h 3448"/>
                <a:gd name="T2" fmla="*/ 8908 w 8908"/>
                <a:gd name="T3" fmla="*/ 0 h 3448"/>
                <a:gd name="T4" fmla="*/ 0 w 8908"/>
                <a:gd name="T5" fmla="*/ 0 h 3448"/>
                <a:gd name="T6" fmla="*/ 0 w 8908"/>
                <a:gd name="T7" fmla="*/ 1283 h 3448"/>
                <a:gd name="T8" fmla="*/ 3157 w 8908"/>
                <a:gd name="T9" fmla="*/ 3448 h 3448"/>
                <a:gd name="T10" fmla="*/ 6081 w 8908"/>
                <a:gd name="T11" fmla="*/ 3448 h 3448"/>
                <a:gd name="T12" fmla="*/ 8908 w 8908"/>
                <a:gd name="T13" fmla="*/ 1425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08" h="3448">
                  <a:moveTo>
                    <a:pt x="8908" y="1425"/>
                  </a:moveTo>
                  <a:cubicBezTo>
                    <a:pt x="8908" y="0"/>
                    <a:pt x="8908" y="0"/>
                    <a:pt x="890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83"/>
                    <a:pt x="0" y="1283"/>
                    <a:pt x="0" y="1283"/>
                  </a:cubicBezTo>
                  <a:cubicBezTo>
                    <a:pt x="1293" y="1858"/>
                    <a:pt x="2381" y="2573"/>
                    <a:pt x="3157" y="3448"/>
                  </a:cubicBezTo>
                  <a:cubicBezTo>
                    <a:pt x="6081" y="3448"/>
                    <a:pt x="6081" y="3448"/>
                    <a:pt x="6081" y="3448"/>
                  </a:cubicBezTo>
                  <a:cubicBezTo>
                    <a:pt x="6793" y="2647"/>
                    <a:pt x="7756" y="1973"/>
                    <a:pt x="8908" y="1425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360" y="2213"/>
              <a:ext cx="419" cy="334"/>
            </a:xfrm>
            <a:custGeom>
              <a:avLst/>
              <a:gdLst>
                <a:gd name="T0" fmla="*/ 21369 w 24614"/>
                <a:gd name="T1" fmla="*/ 1320 h 19685"/>
                <a:gd name="T2" fmla="*/ 12307 w 24614"/>
                <a:gd name="T3" fmla="*/ 0 h 19685"/>
                <a:gd name="T4" fmla="*/ 0 w 24614"/>
                <a:gd name="T5" fmla="*/ 3963 h 19685"/>
                <a:gd name="T6" fmla="*/ 12274 w 24614"/>
                <a:gd name="T7" fmla="*/ 19685 h 19685"/>
                <a:gd name="T8" fmla="*/ 24614 w 24614"/>
                <a:gd name="T9" fmla="*/ 3963 h 19685"/>
                <a:gd name="T10" fmla="*/ 21369 w 24614"/>
                <a:gd name="T11" fmla="*/ 1320 h 19685"/>
                <a:gd name="T12" fmla="*/ 7508 w 24614"/>
                <a:gd name="T13" fmla="*/ 4749 h 19685"/>
                <a:gd name="T14" fmla="*/ 2112 w 24614"/>
                <a:gd name="T15" fmla="*/ 10290 h 19685"/>
                <a:gd name="T16" fmla="*/ 2112 w 24614"/>
                <a:gd name="T17" fmla="*/ 5414 h 19685"/>
                <a:gd name="T18" fmla="*/ 5134 w 24614"/>
                <a:gd name="T19" fmla="*/ 2311 h 19685"/>
                <a:gd name="T20" fmla="*/ 10008 w 24614"/>
                <a:gd name="T21" fmla="*/ 2182 h 19685"/>
                <a:gd name="T22" fmla="*/ 7508 w 24614"/>
                <a:gd name="T23" fmla="*/ 4749 h 19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614" h="19685">
                  <a:moveTo>
                    <a:pt x="21369" y="1320"/>
                  </a:moveTo>
                  <a:cubicBezTo>
                    <a:pt x="19042" y="481"/>
                    <a:pt x="15738" y="0"/>
                    <a:pt x="12307" y="0"/>
                  </a:cubicBezTo>
                  <a:cubicBezTo>
                    <a:pt x="4946" y="0"/>
                    <a:pt x="0" y="2049"/>
                    <a:pt x="0" y="3963"/>
                  </a:cubicBezTo>
                  <a:cubicBezTo>
                    <a:pt x="0" y="12248"/>
                    <a:pt x="939" y="19685"/>
                    <a:pt x="12274" y="19685"/>
                  </a:cubicBezTo>
                  <a:cubicBezTo>
                    <a:pt x="19655" y="19685"/>
                    <a:pt x="24614" y="13367"/>
                    <a:pt x="24614" y="3963"/>
                  </a:cubicBezTo>
                  <a:cubicBezTo>
                    <a:pt x="24614" y="2632"/>
                    <a:pt x="22345" y="1671"/>
                    <a:pt x="21369" y="1320"/>
                  </a:cubicBezTo>
                  <a:close/>
                  <a:moveTo>
                    <a:pt x="7508" y="4749"/>
                  </a:moveTo>
                  <a:cubicBezTo>
                    <a:pt x="2112" y="10290"/>
                    <a:pt x="2112" y="10290"/>
                    <a:pt x="2112" y="10290"/>
                  </a:cubicBezTo>
                  <a:cubicBezTo>
                    <a:pt x="2112" y="5414"/>
                    <a:pt x="2112" y="5414"/>
                    <a:pt x="2112" y="5414"/>
                  </a:cubicBezTo>
                  <a:cubicBezTo>
                    <a:pt x="5134" y="2311"/>
                    <a:pt x="5134" y="2311"/>
                    <a:pt x="5134" y="2311"/>
                  </a:cubicBezTo>
                  <a:cubicBezTo>
                    <a:pt x="10008" y="2182"/>
                    <a:pt x="10008" y="2182"/>
                    <a:pt x="10008" y="2182"/>
                  </a:cubicBezTo>
                  <a:lnTo>
                    <a:pt x="7508" y="4749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3381" y="1824"/>
              <a:ext cx="220" cy="362"/>
            </a:xfrm>
            <a:custGeom>
              <a:avLst/>
              <a:gdLst>
                <a:gd name="T0" fmla="*/ 4330 w 12931"/>
                <a:gd name="T1" fmla="*/ 20069 h 21330"/>
                <a:gd name="T2" fmla="*/ 12931 w 12931"/>
                <a:gd name="T3" fmla="*/ 1426 h 21330"/>
                <a:gd name="T4" fmla="*/ 9841 w 12931"/>
                <a:gd name="T5" fmla="*/ 0 h 21330"/>
                <a:gd name="T6" fmla="*/ 0 w 12931"/>
                <a:gd name="T7" fmla="*/ 21330 h 21330"/>
                <a:gd name="T8" fmla="*/ 4330 w 12931"/>
                <a:gd name="T9" fmla="*/ 20069 h 2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31" h="21330">
                  <a:moveTo>
                    <a:pt x="4330" y="20069"/>
                  </a:moveTo>
                  <a:cubicBezTo>
                    <a:pt x="12931" y="1426"/>
                    <a:pt x="12931" y="1426"/>
                    <a:pt x="12931" y="1426"/>
                  </a:cubicBezTo>
                  <a:cubicBezTo>
                    <a:pt x="9841" y="0"/>
                    <a:pt x="9841" y="0"/>
                    <a:pt x="9841" y="0"/>
                  </a:cubicBezTo>
                  <a:cubicBezTo>
                    <a:pt x="0" y="21330"/>
                    <a:pt x="0" y="21330"/>
                    <a:pt x="0" y="21330"/>
                  </a:cubicBezTo>
                  <a:cubicBezTo>
                    <a:pt x="1292" y="20782"/>
                    <a:pt x="2764" y="20364"/>
                    <a:pt x="4330" y="20069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4073" y="1824"/>
              <a:ext cx="219" cy="359"/>
            </a:xfrm>
            <a:custGeom>
              <a:avLst/>
              <a:gdLst>
                <a:gd name="T0" fmla="*/ 12863 w 12863"/>
                <a:gd name="T1" fmla="*/ 21185 h 21185"/>
                <a:gd name="T2" fmla="*/ 3089 w 12863"/>
                <a:gd name="T3" fmla="*/ 0 h 21185"/>
                <a:gd name="T4" fmla="*/ 0 w 12863"/>
                <a:gd name="T5" fmla="*/ 1426 h 21185"/>
                <a:gd name="T6" fmla="*/ 8586 w 12863"/>
                <a:gd name="T7" fmla="*/ 20036 h 21185"/>
                <a:gd name="T8" fmla="*/ 12863 w 12863"/>
                <a:gd name="T9" fmla="*/ 21185 h 2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63" h="21185">
                  <a:moveTo>
                    <a:pt x="12863" y="21185"/>
                  </a:moveTo>
                  <a:cubicBezTo>
                    <a:pt x="3089" y="0"/>
                    <a:pt x="3089" y="0"/>
                    <a:pt x="3089" y="0"/>
                  </a:cubicBezTo>
                  <a:cubicBezTo>
                    <a:pt x="0" y="1426"/>
                    <a:pt x="0" y="1426"/>
                    <a:pt x="0" y="1426"/>
                  </a:cubicBezTo>
                  <a:cubicBezTo>
                    <a:pt x="8586" y="20036"/>
                    <a:pt x="8586" y="20036"/>
                    <a:pt x="8586" y="20036"/>
                  </a:cubicBezTo>
                  <a:cubicBezTo>
                    <a:pt x="10116" y="20306"/>
                    <a:pt x="11574" y="20680"/>
                    <a:pt x="12863" y="21185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1"/>
            <p:cNvSpPr>
              <a:spLocks/>
            </p:cNvSpPr>
            <p:nvPr/>
          </p:nvSpPr>
          <p:spPr bwMode="auto">
            <a:xfrm>
              <a:off x="3901" y="2213"/>
              <a:ext cx="419" cy="334"/>
            </a:xfrm>
            <a:custGeom>
              <a:avLst/>
              <a:gdLst>
                <a:gd name="T0" fmla="*/ 12341 w 24615"/>
                <a:gd name="T1" fmla="*/ 19685 h 19685"/>
                <a:gd name="T2" fmla="*/ 24615 w 24615"/>
                <a:gd name="T3" fmla="*/ 3963 h 19685"/>
                <a:gd name="T4" fmla="*/ 21369 w 24615"/>
                <a:gd name="T5" fmla="*/ 1320 h 19685"/>
                <a:gd name="T6" fmla="*/ 12307 w 24615"/>
                <a:gd name="T7" fmla="*/ 0 h 19685"/>
                <a:gd name="T8" fmla="*/ 0 w 24615"/>
                <a:gd name="T9" fmla="*/ 3963 h 19685"/>
                <a:gd name="T10" fmla="*/ 12341 w 24615"/>
                <a:gd name="T11" fmla="*/ 19685 h 19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15" h="19685">
                  <a:moveTo>
                    <a:pt x="12341" y="19685"/>
                  </a:moveTo>
                  <a:cubicBezTo>
                    <a:pt x="23676" y="19685"/>
                    <a:pt x="24615" y="12248"/>
                    <a:pt x="24615" y="3963"/>
                  </a:cubicBezTo>
                  <a:cubicBezTo>
                    <a:pt x="24615" y="2632"/>
                    <a:pt x="22345" y="1671"/>
                    <a:pt x="21369" y="1320"/>
                  </a:cubicBezTo>
                  <a:cubicBezTo>
                    <a:pt x="19042" y="481"/>
                    <a:pt x="15739" y="0"/>
                    <a:pt x="12307" y="0"/>
                  </a:cubicBezTo>
                  <a:cubicBezTo>
                    <a:pt x="4946" y="0"/>
                    <a:pt x="0" y="2049"/>
                    <a:pt x="0" y="3963"/>
                  </a:cubicBezTo>
                  <a:cubicBezTo>
                    <a:pt x="0" y="13367"/>
                    <a:pt x="4959" y="19685"/>
                    <a:pt x="12341" y="19685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4" name="Gruppieren 23"/>
          <p:cNvGrpSpPr>
            <a:grpSpLocks noChangeAspect="1"/>
          </p:cNvGrpSpPr>
          <p:nvPr/>
        </p:nvGrpSpPr>
        <p:grpSpPr>
          <a:xfrm>
            <a:off x="6518897" y="4080594"/>
            <a:ext cx="435187" cy="415755"/>
            <a:chOff x="-21729854" y="-8683622"/>
            <a:chExt cx="19184938" cy="18328350"/>
          </a:xfrm>
          <a:solidFill>
            <a:schemeClr val="accent1"/>
          </a:solidFill>
        </p:grpSpPr>
        <p:grpSp>
          <p:nvGrpSpPr>
            <p:cNvPr id="25" name="Group 69"/>
            <p:cNvGrpSpPr>
              <a:grpSpLocks noChangeAspect="1"/>
            </p:cNvGrpSpPr>
            <p:nvPr/>
          </p:nvGrpSpPr>
          <p:grpSpPr bwMode="auto">
            <a:xfrm>
              <a:off x="-21729854" y="-4352260"/>
              <a:ext cx="19184938" cy="13996988"/>
              <a:chOff x="-13781" y="-2723"/>
              <a:chExt cx="12085" cy="8817"/>
            </a:xfrm>
            <a:grpFill/>
          </p:grpSpPr>
          <p:sp>
            <p:nvSpPr>
              <p:cNvPr id="27" name="Rectangle 70"/>
              <p:cNvSpPr>
                <a:spLocks noChangeArrowheads="1"/>
              </p:cNvSpPr>
              <p:nvPr/>
            </p:nvSpPr>
            <p:spPr bwMode="auto">
              <a:xfrm>
                <a:off x="-13781" y="2195"/>
                <a:ext cx="1999" cy="33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Freeform 71"/>
              <p:cNvSpPr>
                <a:spLocks/>
              </p:cNvSpPr>
              <p:nvPr/>
            </p:nvSpPr>
            <p:spPr bwMode="auto">
              <a:xfrm>
                <a:off x="-11106" y="4861"/>
                <a:ext cx="4230" cy="1229"/>
              </a:xfrm>
              <a:custGeom>
                <a:avLst/>
                <a:gdLst>
                  <a:gd name="T0" fmla="*/ 4097 w 4230"/>
                  <a:gd name="T1" fmla="*/ 607 h 1229"/>
                  <a:gd name="T2" fmla="*/ 0 w 4230"/>
                  <a:gd name="T3" fmla="*/ 0 h 1229"/>
                  <a:gd name="T4" fmla="*/ 0 w 4230"/>
                  <a:gd name="T5" fmla="*/ 668 h 1229"/>
                  <a:gd name="T6" fmla="*/ 4230 w 4230"/>
                  <a:gd name="T7" fmla="*/ 1229 h 1229"/>
                  <a:gd name="T8" fmla="*/ 4097 w 4230"/>
                  <a:gd name="T9" fmla="*/ 607 h 1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30" h="1229">
                    <a:moveTo>
                      <a:pt x="4097" y="607"/>
                    </a:moveTo>
                    <a:lnTo>
                      <a:pt x="0" y="0"/>
                    </a:lnTo>
                    <a:lnTo>
                      <a:pt x="0" y="668"/>
                    </a:lnTo>
                    <a:lnTo>
                      <a:pt x="4230" y="1229"/>
                    </a:lnTo>
                    <a:lnTo>
                      <a:pt x="4097" y="6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9" name="Freeform 72"/>
              <p:cNvSpPr>
                <a:spLocks/>
              </p:cNvSpPr>
              <p:nvPr/>
            </p:nvSpPr>
            <p:spPr bwMode="auto">
              <a:xfrm>
                <a:off x="-11106" y="4861"/>
                <a:ext cx="4230" cy="1229"/>
              </a:xfrm>
              <a:custGeom>
                <a:avLst/>
                <a:gdLst>
                  <a:gd name="T0" fmla="*/ 4097 w 4230"/>
                  <a:gd name="T1" fmla="*/ 607 h 1229"/>
                  <a:gd name="T2" fmla="*/ 0 w 4230"/>
                  <a:gd name="T3" fmla="*/ 0 h 1229"/>
                  <a:gd name="T4" fmla="*/ 0 w 4230"/>
                  <a:gd name="T5" fmla="*/ 668 h 1229"/>
                  <a:gd name="T6" fmla="*/ 4230 w 4230"/>
                  <a:gd name="T7" fmla="*/ 1229 h 1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30" h="1229">
                    <a:moveTo>
                      <a:pt x="4097" y="607"/>
                    </a:moveTo>
                    <a:lnTo>
                      <a:pt x="0" y="0"/>
                    </a:lnTo>
                    <a:lnTo>
                      <a:pt x="0" y="668"/>
                    </a:lnTo>
                    <a:lnTo>
                      <a:pt x="4230" y="1229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Freeform 73"/>
              <p:cNvSpPr>
                <a:spLocks/>
              </p:cNvSpPr>
              <p:nvPr/>
            </p:nvSpPr>
            <p:spPr bwMode="auto">
              <a:xfrm>
                <a:off x="-11106" y="1601"/>
                <a:ext cx="5260" cy="2769"/>
              </a:xfrm>
              <a:custGeom>
                <a:avLst/>
                <a:gdLst>
                  <a:gd name="T0" fmla="*/ 18299 w 18701"/>
                  <a:gd name="T1" fmla="*/ 5264 h 9859"/>
                  <a:gd name="T2" fmla="*/ 17475 w 18701"/>
                  <a:gd name="T3" fmla="*/ 4382 h 9859"/>
                  <a:gd name="T4" fmla="*/ 12811 w 18701"/>
                  <a:gd name="T5" fmla="*/ 1050 h 9859"/>
                  <a:gd name="T6" fmla="*/ 9249 w 18701"/>
                  <a:gd name="T7" fmla="*/ 181 h 9859"/>
                  <a:gd name="T8" fmla="*/ 0 w 18701"/>
                  <a:gd name="T9" fmla="*/ 2125 h 9859"/>
                  <a:gd name="T10" fmla="*/ 0 w 18701"/>
                  <a:gd name="T11" fmla="*/ 4502 h 9859"/>
                  <a:gd name="T12" fmla="*/ 9595 w 18701"/>
                  <a:gd name="T13" fmla="*/ 2285 h 9859"/>
                  <a:gd name="T14" fmla="*/ 11572 w 18701"/>
                  <a:gd name="T15" fmla="*/ 2785 h 9859"/>
                  <a:gd name="T16" fmla="*/ 16237 w 18701"/>
                  <a:gd name="T17" fmla="*/ 6117 h 9859"/>
                  <a:gd name="T18" fmla="*/ 16460 w 18701"/>
                  <a:gd name="T19" fmla="*/ 7331 h 9859"/>
                  <a:gd name="T20" fmla="*/ 15896 w 18701"/>
                  <a:gd name="T21" fmla="*/ 7708 h 9859"/>
                  <a:gd name="T22" fmla="*/ 15229 w 18701"/>
                  <a:gd name="T23" fmla="*/ 7577 h 9859"/>
                  <a:gd name="T24" fmla="*/ 10458 w 18701"/>
                  <a:gd name="T25" fmla="*/ 4396 h 9859"/>
                  <a:gd name="T26" fmla="*/ 9274 w 18701"/>
                  <a:gd name="T27" fmla="*/ 6170 h 9859"/>
                  <a:gd name="T28" fmla="*/ 14046 w 18701"/>
                  <a:gd name="T29" fmla="*/ 9351 h 9859"/>
                  <a:gd name="T30" fmla="*/ 15716 w 18701"/>
                  <a:gd name="T31" fmla="*/ 9859 h 9859"/>
                  <a:gd name="T32" fmla="*/ 16313 w 18701"/>
                  <a:gd name="T33" fmla="*/ 9799 h 9859"/>
                  <a:gd name="T34" fmla="*/ 18232 w 18701"/>
                  <a:gd name="T35" fmla="*/ 8513 h 9859"/>
                  <a:gd name="T36" fmla="*/ 18695 w 18701"/>
                  <a:gd name="T37" fmla="*/ 7347 h 9859"/>
                  <a:gd name="T38" fmla="*/ 18701 w 18701"/>
                  <a:gd name="T39" fmla="*/ 7370 h 9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701" h="9859">
                    <a:moveTo>
                      <a:pt x="18299" y="5264"/>
                    </a:moveTo>
                    <a:cubicBezTo>
                      <a:pt x="18092" y="4929"/>
                      <a:pt x="17819" y="4627"/>
                      <a:pt x="17475" y="4382"/>
                    </a:cubicBezTo>
                    <a:cubicBezTo>
                      <a:pt x="12811" y="1050"/>
                      <a:pt x="12811" y="1050"/>
                      <a:pt x="12811" y="1050"/>
                    </a:cubicBezTo>
                    <a:cubicBezTo>
                      <a:pt x="11775" y="309"/>
                      <a:pt x="10508" y="0"/>
                      <a:pt x="9249" y="181"/>
                    </a:cubicBezTo>
                    <a:cubicBezTo>
                      <a:pt x="0" y="2125"/>
                      <a:pt x="0" y="2125"/>
                      <a:pt x="0" y="2125"/>
                    </a:cubicBezTo>
                    <a:cubicBezTo>
                      <a:pt x="0" y="4502"/>
                      <a:pt x="0" y="4502"/>
                      <a:pt x="0" y="4502"/>
                    </a:cubicBezTo>
                    <a:cubicBezTo>
                      <a:pt x="9595" y="2285"/>
                      <a:pt x="9595" y="2285"/>
                      <a:pt x="9595" y="2285"/>
                    </a:cubicBezTo>
                    <a:cubicBezTo>
                      <a:pt x="10297" y="2198"/>
                      <a:pt x="10996" y="2373"/>
                      <a:pt x="11572" y="2785"/>
                    </a:cubicBezTo>
                    <a:cubicBezTo>
                      <a:pt x="16237" y="6117"/>
                      <a:pt x="16237" y="6117"/>
                      <a:pt x="16237" y="6117"/>
                    </a:cubicBezTo>
                    <a:cubicBezTo>
                      <a:pt x="16629" y="6397"/>
                      <a:pt x="16727" y="6930"/>
                      <a:pt x="16460" y="7331"/>
                    </a:cubicBezTo>
                    <a:cubicBezTo>
                      <a:pt x="16327" y="7528"/>
                      <a:pt x="16128" y="7661"/>
                      <a:pt x="15896" y="7708"/>
                    </a:cubicBezTo>
                    <a:cubicBezTo>
                      <a:pt x="15661" y="7754"/>
                      <a:pt x="15426" y="7708"/>
                      <a:pt x="15229" y="7577"/>
                    </a:cubicBezTo>
                    <a:cubicBezTo>
                      <a:pt x="10458" y="4396"/>
                      <a:pt x="10458" y="4396"/>
                      <a:pt x="10458" y="4396"/>
                    </a:cubicBezTo>
                    <a:cubicBezTo>
                      <a:pt x="9274" y="6170"/>
                      <a:pt x="9274" y="6170"/>
                      <a:pt x="9274" y="6170"/>
                    </a:cubicBezTo>
                    <a:cubicBezTo>
                      <a:pt x="14046" y="9351"/>
                      <a:pt x="14046" y="9351"/>
                      <a:pt x="14046" y="9351"/>
                    </a:cubicBezTo>
                    <a:cubicBezTo>
                      <a:pt x="14548" y="9685"/>
                      <a:pt x="15126" y="9859"/>
                      <a:pt x="15716" y="9859"/>
                    </a:cubicBezTo>
                    <a:cubicBezTo>
                      <a:pt x="15914" y="9859"/>
                      <a:pt x="16114" y="9839"/>
                      <a:pt x="16313" y="9799"/>
                    </a:cubicBezTo>
                    <a:cubicBezTo>
                      <a:pt x="17104" y="9641"/>
                      <a:pt x="17785" y="9184"/>
                      <a:pt x="18232" y="8513"/>
                    </a:cubicBezTo>
                    <a:cubicBezTo>
                      <a:pt x="18477" y="8149"/>
                      <a:pt x="18624" y="7752"/>
                      <a:pt x="18695" y="7347"/>
                    </a:cubicBezTo>
                    <a:cubicBezTo>
                      <a:pt x="18701" y="7370"/>
                      <a:pt x="18701" y="7370"/>
                      <a:pt x="18701" y="737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Freeform 74"/>
              <p:cNvSpPr>
                <a:spLocks/>
              </p:cNvSpPr>
              <p:nvPr/>
            </p:nvSpPr>
            <p:spPr bwMode="auto">
              <a:xfrm>
                <a:off x="-11106" y="1593"/>
                <a:ext cx="5529" cy="2984"/>
              </a:xfrm>
              <a:custGeom>
                <a:avLst/>
                <a:gdLst>
                  <a:gd name="T0" fmla="*/ 18189 w 19657"/>
                  <a:gd name="T1" fmla="*/ 8767 h 10628"/>
                  <a:gd name="T2" fmla="*/ 13582 w 19657"/>
                  <a:gd name="T3" fmla="*/ 9041 h 10628"/>
                  <a:gd name="T4" fmla="*/ 9274 w 19657"/>
                  <a:gd name="T5" fmla="*/ 6169 h 10628"/>
                  <a:gd name="T6" fmla="*/ 10458 w 19657"/>
                  <a:gd name="T7" fmla="*/ 4396 h 10628"/>
                  <a:gd name="T8" fmla="*/ 15064 w 19657"/>
                  <a:gd name="T9" fmla="*/ 7467 h 10628"/>
                  <a:gd name="T10" fmla="*/ 16407 w 19657"/>
                  <a:gd name="T11" fmla="*/ 7486 h 10628"/>
                  <a:gd name="T12" fmla="*/ 16237 w 19657"/>
                  <a:gd name="T13" fmla="*/ 6116 h 10628"/>
                  <a:gd name="T14" fmla="*/ 11572 w 19657"/>
                  <a:gd name="T15" fmla="*/ 2784 h 10628"/>
                  <a:gd name="T16" fmla="*/ 9595 w 19657"/>
                  <a:gd name="T17" fmla="*/ 2285 h 10628"/>
                  <a:gd name="T18" fmla="*/ 0 w 19657"/>
                  <a:gd name="T19" fmla="*/ 4501 h 10628"/>
                  <a:gd name="T20" fmla="*/ 0 w 19657"/>
                  <a:gd name="T21" fmla="*/ 2125 h 10628"/>
                  <a:gd name="T22" fmla="*/ 9249 w 19657"/>
                  <a:gd name="T23" fmla="*/ 180 h 10628"/>
                  <a:gd name="T24" fmla="*/ 12811 w 19657"/>
                  <a:gd name="T25" fmla="*/ 1050 h 10628"/>
                  <a:gd name="T26" fmla="*/ 16903 w 19657"/>
                  <a:gd name="T27" fmla="*/ 3960 h 10628"/>
                  <a:gd name="T28" fmla="*/ 18189 w 19657"/>
                  <a:gd name="T29" fmla="*/ 8767 h 10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57" h="10628">
                    <a:moveTo>
                      <a:pt x="18189" y="8767"/>
                    </a:moveTo>
                    <a:cubicBezTo>
                      <a:pt x="17467" y="9612"/>
                      <a:pt x="16165" y="10628"/>
                      <a:pt x="13582" y="9041"/>
                    </a:cubicBezTo>
                    <a:cubicBezTo>
                      <a:pt x="12479" y="8363"/>
                      <a:pt x="9274" y="6169"/>
                      <a:pt x="9274" y="6169"/>
                    </a:cubicBezTo>
                    <a:cubicBezTo>
                      <a:pt x="10458" y="4396"/>
                      <a:pt x="10458" y="4396"/>
                      <a:pt x="10458" y="4396"/>
                    </a:cubicBezTo>
                    <a:cubicBezTo>
                      <a:pt x="15064" y="7467"/>
                      <a:pt x="15064" y="7467"/>
                      <a:pt x="15064" y="7467"/>
                    </a:cubicBezTo>
                    <a:cubicBezTo>
                      <a:pt x="15479" y="7765"/>
                      <a:pt x="16017" y="7876"/>
                      <a:pt x="16407" y="7486"/>
                    </a:cubicBezTo>
                    <a:cubicBezTo>
                      <a:pt x="16853" y="7040"/>
                      <a:pt x="16629" y="6396"/>
                      <a:pt x="16237" y="6116"/>
                    </a:cubicBezTo>
                    <a:cubicBezTo>
                      <a:pt x="11572" y="2784"/>
                      <a:pt x="11572" y="2784"/>
                      <a:pt x="11572" y="2784"/>
                    </a:cubicBezTo>
                    <a:cubicBezTo>
                      <a:pt x="10996" y="2372"/>
                      <a:pt x="10297" y="2198"/>
                      <a:pt x="9595" y="2285"/>
                    </a:cubicBezTo>
                    <a:cubicBezTo>
                      <a:pt x="0" y="4501"/>
                      <a:pt x="0" y="4501"/>
                      <a:pt x="0" y="4501"/>
                    </a:cubicBezTo>
                    <a:cubicBezTo>
                      <a:pt x="0" y="2125"/>
                      <a:pt x="0" y="2125"/>
                      <a:pt x="0" y="2125"/>
                    </a:cubicBezTo>
                    <a:cubicBezTo>
                      <a:pt x="9249" y="180"/>
                      <a:pt x="9249" y="180"/>
                      <a:pt x="9249" y="180"/>
                    </a:cubicBezTo>
                    <a:cubicBezTo>
                      <a:pt x="10508" y="0"/>
                      <a:pt x="11775" y="309"/>
                      <a:pt x="12811" y="1050"/>
                    </a:cubicBezTo>
                    <a:cubicBezTo>
                      <a:pt x="12811" y="1050"/>
                      <a:pt x="15828" y="3208"/>
                      <a:pt x="16903" y="3960"/>
                    </a:cubicBezTo>
                    <a:cubicBezTo>
                      <a:pt x="19657" y="5889"/>
                      <a:pt x="18818" y="8030"/>
                      <a:pt x="18189" y="87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Freeform 75"/>
              <p:cNvSpPr>
                <a:spLocks/>
              </p:cNvSpPr>
              <p:nvPr/>
            </p:nvSpPr>
            <p:spPr bwMode="auto">
              <a:xfrm>
                <a:off x="-11106" y="1818"/>
                <a:ext cx="9410" cy="4276"/>
              </a:xfrm>
              <a:custGeom>
                <a:avLst/>
                <a:gdLst>
                  <a:gd name="T0" fmla="*/ 32913 w 33457"/>
                  <a:gd name="T1" fmla="*/ 1776 h 15227"/>
                  <a:gd name="T2" fmla="*/ 29844 w 33457"/>
                  <a:gd name="T3" fmla="*/ 345 h 15227"/>
                  <a:gd name="T4" fmla="*/ 20649 w 33457"/>
                  <a:gd name="T5" fmla="*/ 3053 h 15227"/>
                  <a:gd name="T6" fmla="*/ 21129 w 33457"/>
                  <a:gd name="T7" fmla="*/ 5135 h 15227"/>
                  <a:gd name="T8" fmla="*/ 29464 w 33457"/>
                  <a:gd name="T9" fmla="*/ 2654 h 15227"/>
                  <a:gd name="T10" fmla="*/ 30949 w 33457"/>
                  <a:gd name="T11" fmla="*/ 2803 h 15227"/>
                  <a:gd name="T12" fmla="*/ 30208 w 33457"/>
                  <a:gd name="T13" fmla="*/ 4103 h 15227"/>
                  <a:gd name="T14" fmla="*/ 14792 w 33457"/>
                  <a:gd name="T15" fmla="*/ 12850 h 15227"/>
                  <a:gd name="T16" fmla="*/ 0 w 33457"/>
                  <a:gd name="T17" fmla="*/ 10850 h 15227"/>
                  <a:gd name="T18" fmla="*/ 0 w 33457"/>
                  <a:gd name="T19" fmla="*/ 13230 h 15227"/>
                  <a:gd name="T20" fmla="*/ 14810 w 33457"/>
                  <a:gd name="T21" fmla="*/ 15227 h 15227"/>
                  <a:gd name="T22" fmla="*/ 32442 w 33457"/>
                  <a:gd name="T23" fmla="*/ 5232 h 15227"/>
                  <a:gd name="T24" fmla="*/ 32913 w 33457"/>
                  <a:gd name="T25" fmla="*/ 1776 h 15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457" h="15227">
                    <a:moveTo>
                      <a:pt x="32913" y="1776"/>
                    </a:moveTo>
                    <a:cubicBezTo>
                      <a:pt x="32377" y="703"/>
                      <a:pt x="30993" y="0"/>
                      <a:pt x="29844" y="345"/>
                    </a:cubicBezTo>
                    <a:cubicBezTo>
                      <a:pt x="20649" y="3053"/>
                      <a:pt x="20649" y="3053"/>
                      <a:pt x="20649" y="3053"/>
                    </a:cubicBezTo>
                    <a:cubicBezTo>
                      <a:pt x="21129" y="5135"/>
                      <a:pt x="21129" y="5135"/>
                      <a:pt x="21129" y="5135"/>
                    </a:cubicBezTo>
                    <a:cubicBezTo>
                      <a:pt x="21129" y="5135"/>
                      <a:pt x="27375" y="3248"/>
                      <a:pt x="29464" y="2654"/>
                    </a:cubicBezTo>
                    <a:cubicBezTo>
                      <a:pt x="30208" y="2442"/>
                      <a:pt x="30671" y="2244"/>
                      <a:pt x="30949" y="2803"/>
                    </a:cubicBezTo>
                    <a:cubicBezTo>
                      <a:pt x="31259" y="3423"/>
                      <a:pt x="30954" y="3743"/>
                      <a:pt x="30208" y="4103"/>
                    </a:cubicBezTo>
                    <a:cubicBezTo>
                      <a:pt x="26461" y="5906"/>
                      <a:pt x="16624" y="12850"/>
                      <a:pt x="14792" y="12850"/>
                    </a:cubicBezTo>
                    <a:cubicBezTo>
                      <a:pt x="13034" y="12850"/>
                      <a:pt x="0" y="10850"/>
                      <a:pt x="0" y="10850"/>
                    </a:cubicBezTo>
                    <a:cubicBezTo>
                      <a:pt x="0" y="13230"/>
                      <a:pt x="0" y="13230"/>
                      <a:pt x="0" y="13230"/>
                    </a:cubicBezTo>
                    <a:cubicBezTo>
                      <a:pt x="0" y="13230"/>
                      <a:pt x="13046" y="15227"/>
                      <a:pt x="14810" y="15227"/>
                    </a:cubicBezTo>
                    <a:cubicBezTo>
                      <a:pt x="16636" y="15227"/>
                      <a:pt x="32442" y="5232"/>
                      <a:pt x="32442" y="5232"/>
                    </a:cubicBezTo>
                    <a:cubicBezTo>
                      <a:pt x="33444" y="4540"/>
                      <a:pt x="33457" y="2866"/>
                      <a:pt x="32913" y="17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3" name="Freeform 76"/>
              <p:cNvSpPr>
                <a:spLocks/>
              </p:cNvSpPr>
              <p:nvPr/>
            </p:nvSpPr>
            <p:spPr bwMode="auto">
              <a:xfrm>
                <a:off x="-12736" y="-2723"/>
                <a:ext cx="4277" cy="3411"/>
              </a:xfrm>
              <a:custGeom>
                <a:avLst/>
                <a:gdLst>
                  <a:gd name="T0" fmla="*/ 5797 w 15209"/>
                  <a:gd name="T1" fmla="*/ 10384 h 12146"/>
                  <a:gd name="T2" fmla="*/ 15209 w 15209"/>
                  <a:gd name="T3" fmla="*/ 9262 h 12146"/>
                  <a:gd name="T4" fmla="*/ 9413 w 15209"/>
                  <a:gd name="T5" fmla="*/ 1762 h 12146"/>
                  <a:gd name="T6" fmla="*/ 0 w 15209"/>
                  <a:gd name="T7" fmla="*/ 2884 h 12146"/>
                  <a:gd name="T8" fmla="*/ 5797 w 15209"/>
                  <a:gd name="T9" fmla="*/ 10384 h 12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09" h="12146">
                    <a:moveTo>
                      <a:pt x="5797" y="10384"/>
                    </a:moveTo>
                    <a:cubicBezTo>
                      <a:pt x="9997" y="12146"/>
                      <a:pt x="15209" y="9262"/>
                      <a:pt x="15209" y="9262"/>
                    </a:cubicBezTo>
                    <a:cubicBezTo>
                      <a:pt x="15209" y="9262"/>
                      <a:pt x="13613" y="3523"/>
                      <a:pt x="9413" y="1762"/>
                    </a:cubicBezTo>
                    <a:cubicBezTo>
                      <a:pt x="5213" y="0"/>
                      <a:pt x="0" y="2884"/>
                      <a:pt x="0" y="2884"/>
                    </a:cubicBezTo>
                    <a:cubicBezTo>
                      <a:pt x="0" y="2884"/>
                      <a:pt x="1597" y="8623"/>
                      <a:pt x="5797" y="10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4" name="Freeform 77"/>
              <p:cNvSpPr>
                <a:spLocks/>
              </p:cNvSpPr>
              <p:nvPr/>
            </p:nvSpPr>
            <p:spPr bwMode="auto">
              <a:xfrm>
                <a:off x="-7068" y="-2723"/>
                <a:ext cx="4278" cy="3411"/>
              </a:xfrm>
              <a:custGeom>
                <a:avLst/>
                <a:gdLst>
                  <a:gd name="T0" fmla="*/ 9413 w 15209"/>
                  <a:gd name="T1" fmla="*/ 10384 h 12146"/>
                  <a:gd name="T2" fmla="*/ 0 w 15209"/>
                  <a:gd name="T3" fmla="*/ 9262 h 12146"/>
                  <a:gd name="T4" fmla="*/ 5797 w 15209"/>
                  <a:gd name="T5" fmla="*/ 1762 h 12146"/>
                  <a:gd name="T6" fmla="*/ 15209 w 15209"/>
                  <a:gd name="T7" fmla="*/ 2884 h 12146"/>
                  <a:gd name="T8" fmla="*/ 9413 w 15209"/>
                  <a:gd name="T9" fmla="*/ 10384 h 12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09" h="12146">
                    <a:moveTo>
                      <a:pt x="9413" y="10384"/>
                    </a:moveTo>
                    <a:cubicBezTo>
                      <a:pt x="5213" y="12146"/>
                      <a:pt x="0" y="9262"/>
                      <a:pt x="0" y="9262"/>
                    </a:cubicBezTo>
                    <a:cubicBezTo>
                      <a:pt x="0" y="9262"/>
                      <a:pt x="1597" y="3523"/>
                      <a:pt x="5797" y="1762"/>
                    </a:cubicBezTo>
                    <a:cubicBezTo>
                      <a:pt x="9996" y="0"/>
                      <a:pt x="15209" y="2884"/>
                      <a:pt x="15209" y="2884"/>
                    </a:cubicBezTo>
                    <a:cubicBezTo>
                      <a:pt x="15209" y="2884"/>
                      <a:pt x="13613" y="8623"/>
                      <a:pt x="9413" y="10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" name="Freeform 77"/>
            <p:cNvSpPr>
              <a:spLocks/>
            </p:cNvSpPr>
            <p:nvPr/>
          </p:nvSpPr>
          <p:spPr bwMode="auto">
            <a:xfrm rot="17542108">
              <a:off x="-15310070" y="-8054651"/>
              <a:ext cx="6207004" cy="4949062"/>
            </a:xfrm>
            <a:custGeom>
              <a:avLst/>
              <a:gdLst>
                <a:gd name="T0" fmla="*/ 9413 w 15209"/>
                <a:gd name="T1" fmla="*/ 10384 h 12146"/>
                <a:gd name="T2" fmla="*/ 0 w 15209"/>
                <a:gd name="T3" fmla="*/ 9262 h 12146"/>
                <a:gd name="T4" fmla="*/ 5797 w 15209"/>
                <a:gd name="T5" fmla="*/ 1762 h 12146"/>
                <a:gd name="T6" fmla="*/ 15209 w 15209"/>
                <a:gd name="T7" fmla="*/ 2884 h 12146"/>
                <a:gd name="T8" fmla="*/ 9413 w 15209"/>
                <a:gd name="T9" fmla="*/ 10384 h 12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9" h="12146">
                  <a:moveTo>
                    <a:pt x="9413" y="10384"/>
                  </a:moveTo>
                  <a:cubicBezTo>
                    <a:pt x="5213" y="12146"/>
                    <a:pt x="0" y="9262"/>
                    <a:pt x="0" y="9262"/>
                  </a:cubicBezTo>
                  <a:cubicBezTo>
                    <a:pt x="0" y="9262"/>
                    <a:pt x="1597" y="3523"/>
                    <a:pt x="5797" y="1762"/>
                  </a:cubicBezTo>
                  <a:cubicBezTo>
                    <a:pt x="9996" y="0"/>
                    <a:pt x="15209" y="2884"/>
                    <a:pt x="15209" y="2884"/>
                  </a:cubicBezTo>
                  <a:cubicBezTo>
                    <a:pt x="15209" y="2884"/>
                    <a:pt x="13613" y="8623"/>
                    <a:pt x="9413" y="103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2BEFB745-3041-6E6C-C86A-4E1DCC616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55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Abgerundetes Rechteck 29"/>
          <p:cNvSpPr/>
          <p:nvPr/>
        </p:nvSpPr>
        <p:spPr>
          <a:xfrm>
            <a:off x="538163" y="3918132"/>
            <a:ext cx="5413375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2" name="Abgerundetes Rechteck 31"/>
          <p:cNvSpPr/>
          <p:nvPr/>
        </p:nvSpPr>
        <p:spPr>
          <a:xfrm>
            <a:off x="6240462" y="1468160"/>
            <a:ext cx="5409899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3" name="Abgerundetes Rechteck 32"/>
          <p:cNvSpPr/>
          <p:nvPr/>
        </p:nvSpPr>
        <p:spPr>
          <a:xfrm>
            <a:off x="538162" y="1463227"/>
            <a:ext cx="5413375" cy="213313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viduelle Leistungsbausteine – stationäre Behandlung und Krankentagegel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D899ED-E07B-4111-BFEA-7E6553FCF2CE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8"/>
          </p:nvPr>
        </p:nvSpPr>
        <p:spPr>
          <a:xfrm>
            <a:off x="407988" y="1674313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Bessere Behandlung </a:t>
            </a:r>
            <a:br>
              <a:rPr lang="de-DE" dirty="0">
                <a:solidFill>
                  <a:srgbClr val="00A075"/>
                </a:solidFill>
              </a:rPr>
            </a:br>
            <a:r>
              <a:rPr lang="de-DE" dirty="0">
                <a:solidFill>
                  <a:srgbClr val="00A075"/>
                </a:solidFill>
              </a:rPr>
              <a:t>im Krankenhaus (BWL)</a:t>
            </a:r>
          </a:p>
          <a:p>
            <a:pPr algn="ctr"/>
            <a:r>
              <a:rPr lang="de-DE" dirty="0">
                <a:solidFill>
                  <a:prstClr val="black"/>
                </a:solidFill>
              </a:rPr>
              <a:t>Privatärztliche Behandlung und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bessere Unterbringung im Krankenhaus </a:t>
            </a:r>
          </a:p>
          <a:p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9"/>
          </p:nvPr>
        </p:nvSpPr>
        <p:spPr>
          <a:xfrm>
            <a:off x="6240464" y="1674313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Bessere Behandlung </a:t>
            </a:r>
            <a:br>
              <a:rPr lang="de-DE" dirty="0">
                <a:solidFill>
                  <a:srgbClr val="00A075"/>
                </a:solidFill>
              </a:rPr>
            </a:br>
            <a:r>
              <a:rPr lang="de-DE" dirty="0">
                <a:solidFill>
                  <a:srgbClr val="00A075"/>
                </a:solidFill>
              </a:rPr>
              <a:t>im Krankenhaus (BKU)</a:t>
            </a:r>
          </a:p>
          <a:p>
            <a:pPr algn="ctr"/>
            <a:r>
              <a:rPr lang="de-DE" dirty="0">
                <a:solidFill>
                  <a:prstClr val="black"/>
                </a:solidFill>
              </a:rPr>
              <a:t>Privatärztliche Behandlung und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bessere Unterbringung im Krankenhaus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nach einem Unfall 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20"/>
          </p:nvPr>
        </p:nvSpPr>
        <p:spPr>
          <a:xfrm>
            <a:off x="407988" y="4086851"/>
            <a:ext cx="5543550" cy="2124537"/>
          </a:xfrm>
        </p:spPr>
        <p:txBody>
          <a:bodyPr/>
          <a:lstStyle/>
          <a:p>
            <a:pPr algn="ctr"/>
            <a:r>
              <a:rPr lang="de-DE" dirty="0">
                <a:solidFill>
                  <a:srgbClr val="00A075"/>
                </a:solidFill>
              </a:rPr>
              <a:t>Finanzielle Sicherheit bei </a:t>
            </a:r>
            <a:br>
              <a:rPr lang="de-DE" dirty="0">
                <a:solidFill>
                  <a:srgbClr val="00A075"/>
                </a:solidFill>
              </a:rPr>
            </a:br>
            <a:r>
              <a:rPr lang="de-DE" dirty="0">
                <a:solidFill>
                  <a:srgbClr val="00A075"/>
                </a:solidFill>
              </a:rPr>
              <a:t>längerer Erkrankung (BKT)</a:t>
            </a:r>
          </a:p>
          <a:p>
            <a:pPr algn="ctr"/>
            <a:r>
              <a:rPr lang="de-DE" dirty="0">
                <a:solidFill>
                  <a:prstClr val="black"/>
                </a:solidFill>
              </a:rPr>
              <a:t>Krankentagegeld ab der </a:t>
            </a:r>
            <a:br>
              <a:rPr lang="de-DE" dirty="0">
                <a:solidFill>
                  <a:prstClr val="black"/>
                </a:solidFill>
              </a:rPr>
            </a:br>
            <a:r>
              <a:rPr lang="de-DE" dirty="0">
                <a:solidFill>
                  <a:prstClr val="black"/>
                </a:solidFill>
              </a:rPr>
              <a:t>7. Krankheitswoche</a:t>
            </a:r>
          </a:p>
          <a:p>
            <a:endParaRPr lang="de-DE" dirty="0"/>
          </a:p>
        </p:txBody>
      </p:sp>
      <p:grpSp>
        <p:nvGrpSpPr>
          <p:cNvPr id="11" name="Group 99"/>
          <p:cNvGrpSpPr>
            <a:grpSpLocks noChangeAspect="1"/>
          </p:cNvGrpSpPr>
          <p:nvPr/>
        </p:nvGrpSpPr>
        <p:grpSpPr bwMode="auto">
          <a:xfrm>
            <a:off x="725497" y="1685595"/>
            <a:ext cx="415755" cy="415755"/>
            <a:chOff x="6729" y="-563"/>
            <a:chExt cx="2784" cy="2784"/>
          </a:xfrm>
        </p:grpSpPr>
        <p:sp>
          <p:nvSpPr>
            <p:cNvPr id="12" name="Freeform 100"/>
            <p:cNvSpPr>
              <a:spLocks/>
            </p:cNvSpPr>
            <p:nvPr/>
          </p:nvSpPr>
          <p:spPr bwMode="auto">
            <a:xfrm>
              <a:off x="7176" y="443"/>
              <a:ext cx="853" cy="542"/>
            </a:xfrm>
            <a:custGeom>
              <a:avLst/>
              <a:gdLst>
                <a:gd name="T0" fmla="*/ 155 w 853"/>
                <a:gd name="T1" fmla="*/ 542 h 542"/>
                <a:gd name="T2" fmla="*/ 0 w 853"/>
                <a:gd name="T3" fmla="*/ 542 h 542"/>
                <a:gd name="T4" fmla="*/ 0 w 853"/>
                <a:gd name="T5" fmla="*/ 0 h 542"/>
                <a:gd name="T6" fmla="*/ 853 w 853"/>
                <a:gd name="T7" fmla="*/ 0 h 542"/>
                <a:gd name="T8" fmla="*/ 853 w 853"/>
                <a:gd name="T9" fmla="*/ 155 h 542"/>
                <a:gd name="T10" fmla="*/ 155 w 853"/>
                <a:gd name="T11" fmla="*/ 155 h 542"/>
                <a:gd name="T12" fmla="*/ 155 w 853"/>
                <a:gd name="T13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542">
                  <a:moveTo>
                    <a:pt x="155" y="542"/>
                  </a:moveTo>
                  <a:lnTo>
                    <a:pt x="0" y="542"/>
                  </a:lnTo>
                  <a:lnTo>
                    <a:pt x="0" y="0"/>
                  </a:lnTo>
                  <a:lnTo>
                    <a:pt x="853" y="0"/>
                  </a:lnTo>
                  <a:lnTo>
                    <a:pt x="853" y="155"/>
                  </a:lnTo>
                  <a:lnTo>
                    <a:pt x="155" y="155"/>
                  </a:lnTo>
                  <a:lnTo>
                    <a:pt x="155" y="542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1"/>
            <p:cNvSpPr>
              <a:spLocks/>
            </p:cNvSpPr>
            <p:nvPr/>
          </p:nvSpPr>
          <p:spPr bwMode="auto">
            <a:xfrm>
              <a:off x="7176" y="1144"/>
              <a:ext cx="853" cy="542"/>
            </a:xfrm>
            <a:custGeom>
              <a:avLst/>
              <a:gdLst>
                <a:gd name="T0" fmla="*/ 155 w 853"/>
                <a:gd name="T1" fmla="*/ 542 h 542"/>
                <a:gd name="T2" fmla="*/ 0 w 853"/>
                <a:gd name="T3" fmla="*/ 542 h 542"/>
                <a:gd name="T4" fmla="*/ 0 w 853"/>
                <a:gd name="T5" fmla="*/ 0 h 542"/>
                <a:gd name="T6" fmla="*/ 853 w 853"/>
                <a:gd name="T7" fmla="*/ 0 h 542"/>
                <a:gd name="T8" fmla="*/ 853 w 853"/>
                <a:gd name="T9" fmla="*/ 155 h 542"/>
                <a:gd name="T10" fmla="*/ 155 w 853"/>
                <a:gd name="T11" fmla="*/ 155 h 542"/>
                <a:gd name="T12" fmla="*/ 155 w 853"/>
                <a:gd name="T13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542">
                  <a:moveTo>
                    <a:pt x="155" y="542"/>
                  </a:moveTo>
                  <a:lnTo>
                    <a:pt x="0" y="542"/>
                  </a:lnTo>
                  <a:lnTo>
                    <a:pt x="0" y="0"/>
                  </a:lnTo>
                  <a:lnTo>
                    <a:pt x="853" y="0"/>
                  </a:lnTo>
                  <a:lnTo>
                    <a:pt x="853" y="155"/>
                  </a:lnTo>
                  <a:lnTo>
                    <a:pt x="155" y="155"/>
                  </a:lnTo>
                  <a:lnTo>
                    <a:pt x="155" y="542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2"/>
            <p:cNvSpPr>
              <a:spLocks/>
            </p:cNvSpPr>
            <p:nvPr/>
          </p:nvSpPr>
          <p:spPr bwMode="auto">
            <a:xfrm>
              <a:off x="8200" y="443"/>
              <a:ext cx="853" cy="542"/>
            </a:xfrm>
            <a:custGeom>
              <a:avLst/>
              <a:gdLst>
                <a:gd name="T0" fmla="*/ 155 w 853"/>
                <a:gd name="T1" fmla="*/ 542 h 542"/>
                <a:gd name="T2" fmla="*/ 0 w 853"/>
                <a:gd name="T3" fmla="*/ 542 h 542"/>
                <a:gd name="T4" fmla="*/ 0 w 853"/>
                <a:gd name="T5" fmla="*/ 0 h 542"/>
                <a:gd name="T6" fmla="*/ 853 w 853"/>
                <a:gd name="T7" fmla="*/ 0 h 542"/>
                <a:gd name="T8" fmla="*/ 853 w 853"/>
                <a:gd name="T9" fmla="*/ 155 h 542"/>
                <a:gd name="T10" fmla="*/ 155 w 853"/>
                <a:gd name="T11" fmla="*/ 155 h 542"/>
                <a:gd name="T12" fmla="*/ 155 w 853"/>
                <a:gd name="T13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542">
                  <a:moveTo>
                    <a:pt x="155" y="542"/>
                  </a:moveTo>
                  <a:lnTo>
                    <a:pt x="0" y="542"/>
                  </a:lnTo>
                  <a:lnTo>
                    <a:pt x="0" y="0"/>
                  </a:lnTo>
                  <a:lnTo>
                    <a:pt x="853" y="0"/>
                  </a:lnTo>
                  <a:lnTo>
                    <a:pt x="853" y="155"/>
                  </a:lnTo>
                  <a:lnTo>
                    <a:pt x="155" y="155"/>
                  </a:lnTo>
                  <a:lnTo>
                    <a:pt x="155" y="542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03"/>
            <p:cNvSpPr>
              <a:spLocks/>
            </p:cNvSpPr>
            <p:nvPr/>
          </p:nvSpPr>
          <p:spPr bwMode="auto">
            <a:xfrm>
              <a:off x="6861" y="443"/>
              <a:ext cx="1568" cy="1778"/>
            </a:xfrm>
            <a:custGeom>
              <a:avLst/>
              <a:gdLst>
                <a:gd name="T0" fmla="*/ 16922 w 18894"/>
                <a:gd name="T1" fmla="*/ 19580 h 21458"/>
                <a:gd name="T2" fmla="*/ 12072 w 18894"/>
                <a:gd name="T3" fmla="*/ 19580 h 21458"/>
                <a:gd name="T4" fmla="*/ 11063 w 18894"/>
                <a:gd name="T5" fmla="*/ 19580 h 21458"/>
                <a:gd name="T6" fmla="*/ 1869 w 18894"/>
                <a:gd name="T7" fmla="*/ 19580 h 21458"/>
                <a:gd name="T8" fmla="*/ 1869 w 18894"/>
                <a:gd name="T9" fmla="*/ 0 h 21458"/>
                <a:gd name="T10" fmla="*/ 0 w 18894"/>
                <a:gd name="T11" fmla="*/ 0 h 21458"/>
                <a:gd name="T12" fmla="*/ 0 w 18894"/>
                <a:gd name="T13" fmla="*/ 20448 h 21458"/>
                <a:gd name="T14" fmla="*/ 1047 w 18894"/>
                <a:gd name="T15" fmla="*/ 21458 h 21458"/>
                <a:gd name="T16" fmla="*/ 12037 w 18894"/>
                <a:gd name="T17" fmla="*/ 21458 h 21458"/>
                <a:gd name="T18" fmla="*/ 13084 w 18894"/>
                <a:gd name="T19" fmla="*/ 21431 h 21458"/>
                <a:gd name="T20" fmla="*/ 16822 w 18894"/>
                <a:gd name="T21" fmla="*/ 21431 h 21458"/>
                <a:gd name="T22" fmla="*/ 17868 w 18894"/>
                <a:gd name="T23" fmla="*/ 21449 h 21458"/>
                <a:gd name="T24" fmla="*/ 18894 w 18894"/>
                <a:gd name="T25" fmla="*/ 21449 h 21458"/>
                <a:gd name="T26" fmla="*/ 16922 w 18894"/>
                <a:gd name="T27" fmla="*/ 19580 h 2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94" h="21458">
                  <a:moveTo>
                    <a:pt x="16922" y="19580"/>
                  </a:moveTo>
                  <a:cubicBezTo>
                    <a:pt x="12072" y="19580"/>
                    <a:pt x="12072" y="19580"/>
                    <a:pt x="12072" y="19580"/>
                  </a:cubicBezTo>
                  <a:cubicBezTo>
                    <a:pt x="11511" y="19580"/>
                    <a:pt x="11063" y="19580"/>
                    <a:pt x="11063" y="19580"/>
                  </a:cubicBezTo>
                  <a:cubicBezTo>
                    <a:pt x="1869" y="19580"/>
                    <a:pt x="1869" y="19580"/>
                    <a:pt x="1869" y="19580"/>
                  </a:cubicBezTo>
                  <a:cubicBezTo>
                    <a:pt x="1869" y="0"/>
                    <a:pt x="1869" y="0"/>
                    <a:pt x="18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448"/>
                    <a:pt x="0" y="20448"/>
                    <a:pt x="0" y="20448"/>
                  </a:cubicBezTo>
                  <a:cubicBezTo>
                    <a:pt x="0" y="21009"/>
                    <a:pt x="449" y="21458"/>
                    <a:pt x="1047" y="21458"/>
                  </a:cubicBezTo>
                  <a:cubicBezTo>
                    <a:pt x="12037" y="21458"/>
                    <a:pt x="12037" y="21458"/>
                    <a:pt x="12037" y="21458"/>
                  </a:cubicBezTo>
                  <a:cubicBezTo>
                    <a:pt x="12635" y="21458"/>
                    <a:pt x="13084" y="21431"/>
                    <a:pt x="13084" y="21431"/>
                  </a:cubicBezTo>
                  <a:cubicBezTo>
                    <a:pt x="16822" y="21431"/>
                    <a:pt x="16822" y="21431"/>
                    <a:pt x="16822" y="21431"/>
                  </a:cubicBezTo>
                  <a:cubicBezTo>
                    <a:pt x="16822" y="21431"/>
                    <a:pt x="17270" y="21449"/>
                    <a:pt x="17868" y="21449"/>
                  </a:cubicBezTo>
                  <a:cubicBezTo>
                    <a:pt x="18894" y="21449"/>
                    <a:pt x="18894" y="21449"/>
                    <a:pt x="18894" y="21449"/>
                  </a:cubicBezTo>
                  <a:cubicBezTo>
                    <a:pt x="18150" y="20922"/>
                    <a:pt x="17486" y="20293"/>
                    <a:pt x="16922" y="19580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04"/>
            <p:cNvSpPr>
              <a:spLocks/>
            </p:cNvSpPr>
            <p:nvPr/>
          </p:nvSpPr>
          <p:spPr bwMode="auto">
            <a:xfrm>
              <a:off x="9187" y="443"/>
              <a:ext cx="160" cy="507"/>
            </a:xfrm>
            <a:custGeom>
              <a:avLst/>
              <a:gdLst>
                <a:gd name="T0" fmla="*/ 1928 w 1928"/>
                <a:gd name="T1" fmla="*/ 6112 h 6112"/>
                <a:gd name="T2" fmla="*/ 1928 w 1928"/>
                <a:gd name="T3" fmla="*/ 0 h 6112"/>
                <a:gd name="T4" fmla="*/ 0 w 1928"/>
                <a:gd name="T5" fmla="*/ 0 h 6112"/>
                <a:gd name="T6" fmla="*/ 0 w 1928"/>
                <a:gd name="T7" fmla="*/ 4999 h 6112"/>
                <a:gd name="T8" fmla="*/ 1928 w 1928"/>
                <a:gd name="T9" fmla="*/ 6112 h 6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8" h="6112">
                  <a:moveTo>
                    <a:pt x="1928" y="6112"/>
                  </a:moveTo>
                  <a:cubicBezTo>
                    <a:pt x="1928" y="0"/>
                    <a:pt x="1928" y="0"/>
                    <a:pt x="19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99"/>
                    <a:pt x="0" y="4999"/>
                    <a:pt x="0" y="4999"/>
                  </a:cubicBezTo>
                  <a:cubicBezTo>
                    <a:pt x="690" y="5292"/>
                    <a:pt x="1332" y="5672"/>
                    <a:pt x="1928" y="6112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05"/>
            <p:cNvSpPr>
              <a:spLocks noEditPoints="1"/>
            </p:cNvSpPr>
            <p:nvPr/>
          </p:nvSpPr>
          <p:spPr bwMode="auto">
            <a:xfrm>
              <a:off x="8251" y="950"/>
              <a:ext cx="1262" cy="1260"/>
            </a:xfrm>
            <a:custGeom>
              <a:avLst/>
              <a:gdLst>
                <a:gd name="T0" fmla="*/ 7588 w 15212"/>
                <a:gd name="T1" fmla="*/ 0 h 15212"/>
                <a:gd name="T2" fmla="*/ 0 w 15212"/>
                <a:gd name="T3" fmla="*/ 7624 h 15212"/>
                <a:gd name="T4" fmla="*/ 7624 w 15212"/>
                <a:gd name="T5" fmla="*/ 15212 h 15212"/>
                <a:gd name="T6" fmla="*/ 15212 w 15212"/>
                <a:gd name="T7" fmla="*/ 7624 h 15212"/>
                <a:gd name="T8" fmla="*/ 7588 w 15212"/>
                <a:gd name="T9" fmla="*/ 0 h 15212"/>
                <a:gd name="T10" fmla="*/ 11355 w 15212"/>
                <a:gd name="T11" fmla="*/ 6694 h 15212"/>
                <a:gd name="T12" fmla="*/ 6951 w 15212"/>
                <a:gd name="T13" fmla="*/ 10378 h 15212"/>
                <a:gd name="T14" fmla="*/ 5741 w 15212"/>
                <a:gd name="T15" fmla="*/ 10379 h 15212"/>
                <a:gd name="T16" fmla="*/ 3857 w 15212"/>
                <a:gd name="T17" fmla="*/ 8798 h 15212"/>
                <a:gd name="T18" fmla="*/ 3857 w 15212"/>
                <a:gd name="T19" fmla="*/ 6346 h 15212"/>
                <a:gd name="T20" fmla="*/ 6343 w 15212"/>
                <a:gd name="T21" fmla="*/ 8433 h 15212"/>
                <a:gd name="T22" fmla="*/ 11355 w 15212"/>
                <a:gd name="T23" fmla="*/ 4235 h 15212"/>
                <a:gd name="T24" fmla="*/ 11355 w 15212"/>
                <a:gd name="T25" fmla="*/ 6694 h 15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12" h="15212">
                  <a:moveTo>
                    <a:pt x="7588" y="0"/>
                  </a:moveTo>
                  <a:cubicBezTo>
                    <a:pt x="3363" y="0"/>
                    <a:pt x="0" y="3514"/>
                    <a:pt x="0" y="7624"/>
                  </a:cubicBezTo>
                  <a:cubicBezTo>
                    <a:pt x="0" y="11662"/>
                    <a:pt x="3288" y="15212"/>
                    <a:pt x="7624" y="15212"/>
                  </a:cubicBezTo>
                  <a:cubicBezTo>
                    <a:pt x="11848" y="15212"/>
                    <a:pt x="15212" y="11848"/>
                    <a:pt x="15212" y="7624"/>
                  </a:cubicBezTo>
                  <a:cubicBezTo>
                    <a:pt x="15212" y="3514"/>
                    <a:pt x="11960" y="0"/>
                    <a:pt x="7588" y="0"/>
                  </a:cubicBezTo>
                  <a:close/>
                  <a:moveTo>
                    <a:pt x="11355" y="6694"/>
                  </a:moveTo>
                  <a:cubicBezTo>
                    <a:pt x="6951" y="10378"/>
                    <a:pt x="6951" y="10378"/>
                    <a:pt x="6951" y="10378"/>
                  </a:cubicBezTo>
                  <a:cubicBezTo>
                    <a:pt x="6602" y="10673"/>
                    <a:pt x="6091" y="10673"/>
                    <a:pt x="5741" y="10379"/>
                  </a:cubicBezTo>
                  <a:cubicBezTo>
                    <a:pt x="3857" y="8798"/>
                    <a:pt x="3857" y="8798"/>
                    <a:pt x="3857" y="8798"/>
                  </a:cubicBezTo>
                  <a:cubicBezTo>
                    <a:pt x="3857" y="6346"/>
                    <a:pt x="3857" y="6346"/>
                    <a:pt x="3857" y="6346"/>
                  </a:cubicBezTo>
                  <a:cubicBezTo>
                    <a:pt x="6343" y="8433"/>
                    <a:pt x="6343" y="8433"/>
                    <a:pt x="6343" y="8433"/>
                  </a:cubicBezTo>
                  <a:cubicBezTo>
                    <a:pt x="11355" y="4235"/>
                    <a:pt x="11355" y="4235"/>
                    <a:pt x="11355" y="4235"/>
                  </a:cubicBezTo>
                  <a:lnTo>
                    <a:pt x="11355" y="6694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06"/>
            <p:cNvSpPr>
              <a:spLocks noEditPoints="1"/>
            </p:cNvSpPr>
            <p:nvPr/>
          </p:nvSpPr>
          <p:spPr bwMode="auto">
            <a:xfrm>
              <a:off x="6729" y="-563"/>
              <a:ext cx="2784" cy="852"/>
            </a:xfrm>
            <a:custGeom>
              <a:avLst/>
              <a:gdLst>
                <a:gd name="T0" fmla="*/ 0 w 2784"/>
                <a:gd name="T1" fmla="*/ 0 h 852"/>
                <a:gd name="T2" fmla="*/ 0 w 2784"/>
                <a:gd name="T3" fmla="*/ 852 h 852"/>
                <a:gd name="T4" fmla="*/ 2784 w 2784"/>
                <a:gd name="T5" fmla="*/ 852 h 852"/>
                <a:gd name="T6" fmla="*/ 2784 w 2784"/>
                <a:gd name="T7" fmla="*/ 0 h 852"/>
                <a:gd name="T8" fmla="*/ 0 w 2784"/>
                <a:gd name="T9" fmla="*/ 0 h 852"/>
                <a:gd name="T10" fmla="*/ 1663 w 2784"/>
                <a:gd name="T11" fmla="*/ 503 h 852"/>
                <a:gd name="T12" fmla="*/ 1469 w 2784"/>
                <a:gd name="T13" fmla="*/ 503 h 852"/>
                <a:gd name="T14" fmla="*/ 1469 w 2784"/>
                <a:gd name="T15" fmla="*/ 697 h 852"/>
                <a:gd name="T16" fmla="*/ 1314 w 2784"/>
                <a:gd name="T17" fmla="*/ 697 h 852"/>
                <a:gd name="T18" fmla="*/ 1314 w 2784"/>
                <a:gd name="T19" fmla="*/ 503 h 852"/>
                <a:gd name="T20" fmla="*/ 1121 w 2784"/>
                <a:gd name="T21" fmla="*/ 503 h 852"/>
                <a:gd name="T22" fmla="*/ 1121 w 2784"/>
                <a:gd name="T23" fmla="*/ 348 h 852"/>
                <a:gd name="T24" fmla="*/ 1314 w 2784"/>
                <a:gd name="T25" fmla="*/ 348 h 852"/>
                <a:gd name="T26" fmla="*/ 1314 w 2784"/>
                <a:gd name="T27" fmla="*/ 155 h 852"/>
                <a:gd name="T28" fmla="*/ 1469 w 2784"/>
                <a:gd name="T29" fmla="*/ 155 h 852"/>
                <a:gd name="T30" fmla="*/ 1469 w 2784"/>
                <a:gd name="T31" fmla="*/ 348 h 852"/>
                <a:gd name="T32" fmla="*/ 1663 w 2784"/>
                <a:gd name="T33" fmla="*/ 348 h 852"/>
                <a:gd name="T34" fmla="*/ 1663 w 2784"/>
                <a:gd name="T35" fmla="*/ 503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84" h="852">
                  <a:moveTo>
                    <a:pt x="0" y="0"/>
                  </a:moveTo>
                  <a:lnTo>
                    <a:pt x="0" y="852"/>
                  </a:lnTo>
                  <a:lnTo>
                    <a:pt x="2784" y="852"/>
                  </a:lnTo>
                  <a:lnTo>
                    <a:pt x="2784" y="0"/>
                  </a:lnTo>
                  <a:lnTo>
                    <a:pt x="0" y="0"/>
                  </a:lnTo>
                  <a:close/>
                  <a:moveTo>
                    <a:pt x="1663" y="503"/>
                  </a:moveTo>
                  <a:lnTo>
                    <a:pt x="1469" y="503"/>
                  </a:lnTo>
                  <a:lnTo>
                    <a:pt x="1469" y="697"/>
                  </a:lnTo>
                  <a:lnTo>
                    <a:pt x="1314" y="697"/>
                  </a:lnTo>
                  <a:lnTo>
                    <a:pt x="1314" y="503"/>
                  </a:lnTo>
                  <a:lnTo>
                    <a:pt x="1121" y="503"/>
                  </a:lnTo>
                  <a:lnTo>
                    <a:pt x="1121" y="348"/>
                  </a:lnTo>
                  <a:lnTo>
                    <a:pt x="1314" y="348"/>
                  </a:lnTo>
                  <a:lnTo>
                    <a:pt x="1314" y="155"/>
                  </a:lnTo>
                  <a:lnTo>
                    <a:pt x="1469" y="155"/>
                  </a:lnTo>
                  <a:lnTo>
                    <a:pt x="1469" y="348"/>
                  </a:lnTo>
                  <a:lnTo>
                    <a:pt x="1663" y="348"/>
                  </a:lnTo>
                  <a:lnTo>
                    <a:pt x="1663" y="503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9" name="Grafik 1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5589" y="1665807"/>
            <a:ext cx="418177" cy="415755"/>
          </a:xfrm>
          <a:prstGeom prst="rect">
            <a:avLst/>
          </a:prstGeom>
        </p:spPr>
      </p:pic>
      <p:grpSp>
        <p:nvGrpSpPr>
          <p:cNvPr id="27" name="Gruppieren 26"/>
          <p:cNvGrpSpPr>
            <a:grpSpLocks noChangeAspect="1"/>
          </p:cNvGrpSpPr>
          <p:nvPr/>
        </p:nvGrpSpPr>
        <p:grpSpPr bwMode="gray">
          <a:xfrm>
            <a:off x="742900" y="4186432"/>
            <a:ext cx="321451" cy="415563"/>
            <a:chOff x="1120775" y="2711450"/>
            <a:chExt cx="417513" cy="539750"/>
          </a:xfrm>
        </p:grpSpPr>
        <p:sp>
          <p:nvSpPr>
            <p:cNvPr id="28" name="Freeform 97"/>
            <p:cNvSpPr>
              <a:spLocks noEditPoints="1"/>
            </p:cNvSpPr>
            <p:nvPr/>
          </p:nvSpPr>
          <p:spPr bwMode="gray">
            <a:xfrm>
              <a:off x="1270000" y="2984500"/>
              <a:ext cx="268288" cy="266700"/>
            </a:xfrm>
            <a:custGeom>
              <a:avLst/>
              <a:gdLst>
                <a:gd name="T0" fmla="*/ 972 w 1943"/>
                <a:gd name="T1" fmla="*/ 0 h 1943"/>
                <a:gd name="T2" fmla="*/ 0 w 1943"/>
                <a:gd name="T3" fmla="*/ 971 h 1943"/>
                <a:gd name="T4" fmla="*/ 972 w 1943"/>
                <a:gd name="T5" fmla="*/ 1943 h 1943"/>
                <a:gd name="T6" fmla="*/ 1943 w 1943"/>
                <a:gd name="T7" fmla="*/ 971 h 1943"/>
                <a:gd name="T8" fmla="*/ 972 w 1943"/>
                <a:gd name="T9" fmla="*/ 0 h 1943"/>
                <a:gd name="T10" fmla="*/ 1217 w 1943"/>
                <a:gd name="T11" fmla="*/ 664 h 1943"/>
                <a:gd name="T12" fmla="*/ 1004 w 1943"/>
                <a:gd name="T13" fmla="*/ 595 h 1943"/>
                <a:gd name="T14" fmla="*/ 734 w 1943"/>
                <a:gd name="T15" fmla="*/ 782 h 1943"/>
                <a:gd name="T16" fmla="*/ 1044 w 1943"/>
                <a:gd name="T17" fmla="*/ 782 h 1943"/>
                <a:gd name="T18" fmla="*/ 1017 w 1943"/>
                <a:gd name="T19" fmla="*/ 924 h 1943"/>
                <a:gd name="T20" fmla="*/ 701 w 1943"/>
                <a:gd name="T21" fmla="*/ 924 h 1943"/>
                <a:gd name="T22" fmla="*/ 699 w 1943"/>
                <a:gd name="T23" fmla="*/ 971 h 1943"/>
                <a:gd name="T24" fmla="*/ 701 w 1943"/>
                <a:gd name="T25" fmla="*/ 1025 h 1943"/>
                <a:gd name="T26" fmla="*/ 1000 w 1943"/>
                <a:gd name="T27" fmla="*/ 1025 h 1943"/>
                <a:gd name="T28" fmla="*/ 973 w 1943"/>
                <a:gd name="T29" fmla="*/ 1166 h 1943"/>
                <a:gd name="T30" fmla="*/ 736 w 1943"/>
                <a:gd name="T31" fmla="*/ 1166 h 1943"/>
                <a:gd name="T32" fmla="*/ 1004 w 1943"/>
                <a:gd name="T33" fmla="*/ 1348 h 1943"/>
                <a:gd name="T34" fmla="*/ 1217 w 1943"/>
                <a:gd name="T35" fmla="*/ 1278 h 1943"/>
                <a:gd name="T36" fmla="*/ 1217 w 1943"/>
                <a:gd name="T37" fmla="*/ 1500 h 1943"/>
                <a:gd name="T38" fmla="*/ 993 w 1943"/>
                <a:gd name="T39" fmla="*/ 1553 h 1943"/>
                <a:gd name="T40" fmla="*/ 497 w 1943"/>
                <a:gd name="T41" fmla="*/ 1166 h 1943"/>
                <a:gd name="T42" fmla="*/ 387 w 1943"/>
                <a:gd name="T43" fmla="*/ 1166 h 1943"/>
                <a:gd name="T44" fmla="*/ 387 w 1943"/>
                <a:gd name="T45" fmla="*/ 1025 h 1943"/>
                <a:gd name="T46" fmla="*/ 475 w 1943"/>
                <a:gd name="T47" fmla="*/ 1025 h 1943"/>
                <a:gd name="T48" fmla="*/ 473 w 1943"/>
                <a:gd name="T49" fmla="*/ 971 h 1943"/>
                <a:gd name="T50" fmla="*/ 475 w 1943"/>
                <a:gd name="T51" fmla="*/ 924 h 1943"/>
                <a:gd name="T52" fmla="*/ 387 w 1943"/>
                <a:gd name="T53" fmla="*/ 924 h 1943"/>
                <a:gd name="T54" fmla="*/ 387 w 1943"/>
                <a:gd name="T55" fmla="*/ 782 h 1943"/>
                <a:gd name="T56" fmla="*/ 497 w 1943"/>
                <a:gd name="T57" fmla="*/ 782 h 1943"/>
                <a:gd name="T58" fmla="*/ 993 w 1943"/>
                <a:gd name="T59" fmla="*/ 389 h 1943"/>
                <a:gd name="T60" fmla="*/ 1217 w 1943"/>
                <a:gd name="T61" fmla="*/ 442 h 1943"/>
                <a:gd name="T62" fmla="*/ 1217 w 1943"/>
                <a:gd name="T63" fmla="*/ 664 h 1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43" h="1943">
                  <a:moveTo>
                    <a:pt x="972" y="0"/>
                  </a:moveTo>
                  <a:cubicBezTo>
                    <a:pt x="436" y="0"/>
                    <a:pt x="0" y="435"/>
                    <a:pt x="0" y="971"/>
                  </a:cubicBezTo>
                  <a:cubicBezTo>
                    <a:pt x="0" y="1507"/>
                    <a:pt x="436" y="1943"/>
                    <a:pt x="972" y="1943"/>
                  </a:cubicBezTo>
                  <a:cubicBezTo>
                    <a:pt x="1507" y="1943"/>
                    <a:pt x="1943" y="1507"/>
                    <a:pt x="1943" y="971"/>
                  </a:cubicBezTo>
                  <a:cubicBezTo>
                    <a:pt x="1943" y="435"/>
                    <a:pt x="1507" y="0"/>
                    <a:pt x="972" y="0"/>
                  </a:cubicBezTo>
                  <a:close/>
                  <a:moveTo>
                    <a:pt x="1217" y="664"/>
                  </a:moveTo>
                  <a:cubicBezTo>
                    <a:pt x="1151" y="618"/>
                    <a:pt x="1081" y="595"/>
                    <a:pt x="1004" y="595"/>
                  </a:cubicBezTo>
                  <a:cubicBezTo>
                    <a:pt x="879" y="595"/>
                    <a:pt x="784" y="666"/>
                    <a:pt x="734" y="782"/>
                  </a:cubicBezTo>
                  <a:cubicBezTo>
                    <a:pt x="1044" y="782"/>
                    <a:pt x="1044" y="782"/>
                    <a:pt x="1044" y="782"/>
                  </a:cubicBezTo>
                  <a:cubicBezTo>
                    <a:pt x="1017" y="924"/>
                    <a:pt x="1017" y="924"/>
                    <a:pt x="1017" y="924"/>
                  </a:cubicBezTo>
                  <a:cubicBezTo>
                    <a:pt x="701" y="924"/>
                    <a:pt x="701" y="924"/>
                    <a:pt x="701" y="924"/>
                  </a:cubicBezTo>
                  <a:cubicBezTo>
                    <a:pt x="699" y="940"/>
                    <a:pt x="699" y="955"/>
                    <a:pt x="699" y="971"/>
                  </a:cubicBezTo>
                  <a:cubicBezTo>
                    <a:pt x="699" y="989"/>
                    <a:pt x="699" y="1008"/>
                    <a:pt x="701" y="1025"/>
                  </a:cubicBezTo>
                  <a:cubicBezTo>
                    <a:pt x="1000" y="1025"/>
                    <a:pt x="1000" y="1025"/>
                    <a:pt x="1000" y="1025"/>
                  </a:cubicBezTo>
                  <a:cubicBezTo>
                    <a:pt x="973" y="1166"/>
                    <a:pt x="973" y="1166"/>
                    <a:pt x="973" y="1166"/>
                  </a:cubicBezTo>
                  <a:cubicBezTo>
                    <a:pt x="736" y="1166"/>
                    <a:pt x="736" y="1166"/>
                    <a:pt x="736" y="1166"/>
                  </a:cubicBezTo>
                  <a:cubicBezTo>
                    <a:pt x="786" y="1280"/>
                    <a:pt x="881" y="1348"/>
                    <a:pt x="1004" y="1348"/>
                  </a:cubicBezTo>
                  <a:cubicBezTo>
                    <a:pt x="1081" y="1348"/>
                    <a:pt x="1151" y="1324"/>
                    <a:pt x="1217" y="1278"/>
                  </a:cubicBezTo>
                  <a:cubicBezTo>
                    <a:pt x="1217" y="1500"/>
                    <a:pt x="1217" y="1500"/>
                    <a:pt x="1217" y="1500"/>
                  </a:cubicBezTo>
                  <a:cubicBezTo>
                    <a:pt x="1157" y="1533"/>
                    <a:pt x="1083" y="1553"/>
                    <a:pt x="993" y="1553"/>
                  </a:cubicBezTo>
                  <a:cubicBezTo>
                    <a:pt x="752" y="1553"/>
                    <a:pt x="563" y="1405"/>
                    <a:pt x="497" y="1166"/>
                  </a:cubicBezTo>
                  <a:cubicBezTo>
                    <a:pt x="387" y="1166"/>
                    <a:pt x="387" y="1166"/>
                    <a:pt x="387" y="1166"/>
                  </a:cubicBezTo>
                  <a:cubicBezTo>
                    <a:pt x="387" y="1025"/>
                    <a:pt x="387" y="1025"/>
                    <a:pt x="387" y="1025"/>
                  </a:cubicBezTo>
                  <a:cubicBezTo>
                    <a:pt x="475" y="1025"/>
                    <a:pt x="475" y="1025"/>
                    <a:pt x="475" y="1025"/>
                  </a:cubicBezTo>
                  <a:cubicBezTo>
                    <a:pt x="473" y="1008"/>
                    <a:pt x="473" y="989"/>
                    <a:pt x="473" y="971"/>
                  </a:cubicBezTo>
                  <a:cubicBezTo>
                    <a:pt x="473" y="955"/>
                    <a:pt x="473" y="940"/>
                    <a:pt x="475" y="924"/>
                  </a:cubicBezTo>
                  <a:cubicBezTo>
                    <a:pt x="387" y="924"/>
                    <a:pt x="387" y="924"/>
                    <a:pt x="387" y="924"/>
                  </a:cubicBezTo>
                  <a:cubicBezTo>
                    <a:pt x="387" y="782"/>
                    <a:pt x="387" y="782"/>
                    <a:pt x="387" y="782"/>
                  </a:cubicBezTo>
                  <a:cubicBezTo>
                    <a:pt x="497" y="782"/>
                    <a:pt x="497" y="782"/>
                    <a:pt x="497" y="782"/>
                  </a:cubicBezTo>
                  <a:cubicBezTo>
                    <a:pt x="562" y="541"/>
                    <a:pt x="751" y="389"/>
                    <a:pt x="993" y="389"/>
                  </a:cubicBezTo>
                  <a:cubicBezTo>
                    <a:pt x="1083" y="389"/>
                    <a:pt x="1157" y="409"/>
                    <a:pt x="1217" y="442"/>
                  </a:cubicBezTo>
                  <a:lnTo>
                    <a:pt x="1217" y="664"/>
                  </a:ln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gray">
            <a:xfrm>
              <a:off x="1120775" y="2711450"/>
              <a:ext cx="314325" cy="390525"/>
            </a:xfrm>
            <a:custGeom>
              <a:avLst/>
              <a:gdLst>
                <a:gd name="T0" fmla="*/ 1064 w 2280"/>
                <a:gd name="T1" fmla="*/ 1568 h 2842"/>
                <a:gd name="T2" fmla="*/ 1142 w 2280"/>
                <a:gd name="T3" fmla="*/ 1322 h 2842"/>
                <a:gd name="T4" fmla="*/ 1135 w 2280"/>
                <a:gd name="T5" fmla="*/ 1322 h 2842"/>
                <a:gd name="T6" fmla="*/ 249 w 2280"/>
                <a:gd name="T7" fmla="*/ 1103 h 2842"/>
                <a:gd name="T8" fmla="*/ 249 w 2280"/>
                <a:gd name="T9" fmla="*/ 775 h 2842"/>
                <a:gd name="T10" fmla="*/ 1138 w 2280"/>
                <a:gd name="T11" fmla="*/ 943 h 2842"/>
                <a:gd name="T12" fmla="*/ 1263 w 2280"/>
                <a:gd name="T13" fmla="*/ 940 h 2842"/>
                <a:gd name="T14" fmla="*/ 1343 w 2280"/>
                <a:gd name="T15" fmla="*/ 689 h 2842"/>
                <a:gd name="T16" fmla="*/ 1138 w 2280"/>
                <a:gd name="T17" fmla="*/ 695 h 2842"/>
                <a:gd name="T18" fmla="*/ 257 w 2280"/>
                <a:gd name="T19" fmla="*/ 481 h 2842"/>
                <a:gd name="T20" fmla="*/ 1138 w 2280"/>
                <a:gd name="T21" fmla="*/ 248 h 2842"/>
                <a:gd name="T22" fmla="*/ 2024 w 2280"/>
                <a:gd name="T23" fmla="*/ 484 h 2842"/>
                <a:gd name="T24" fmla="*/ 2027 w 2280"/>
                <a:gd name="T25" fmla="*/ 778 h 2842"/>
                <a:gd name="T26" fmla="*/ 2030 w 2280"/>
                <a:gd name="T27" fmla="*/ 777 h 2842"/>
                <a:gd name="T28" fmla="*/ 2031 w 2280"/>
                <a:gd name="T29" fmla="*/ 1102 h 2842"/>
                <a:gd name="T30" fmla="*/ 2030 w 2280"/>
                <a:gd name="T31" fmla="*/ 1102 h 2842"/>
                <a:gd name="T32" fmla="*/ 2036 w 2280"/>
                <a:gd name="T33" fmla="*/ 1711 h 2842"/>
                <a:gd name="T34" fmla="*/ 2051 w 2280"/>
                <a:gd name="T35" fmla="*/ 1710 h 2842"/>
                <a:gd name="T36" fmla="*/ 2280 w 2280"/>
                <a:gd name="T37" fmla="*/ 1732 h 2842"/>
                <a:gd name="T38" fmla="*/ 2280 w 2280"/>
                <a:gd name="T39" fmla="*/ 1710 h 2842"/>
                <a:gd name="T40" fmla="*/ 2276 w 2280"/>
                <a:gd name="T41" fmla="*/ 483 h 2842"/>
                <a:gd name="T42" fmla="*/ 2275 w 2280"/>
                <a:gd name="T43" fmla="*/ 471 h 2842"/>
                <a:gd name="T44" fmla="*/ 1138 w 2280"/>
                <a:gd name="T45" fmla="*/ 0 h 2842"/>
                <a:gd name="T46" fmla="*/ 2 w 2280"/>
                <a:gd name="T47" fmla="*/ 472 h 2842"/>
                <a:gd name="T48" fmla="*/ 2 w 2280"/>
                <a:gd name="T49" fmla="*/ 484 h 2842"/>
                <a:gd name="T50" fmla="*/ 0 w 2280"/>
                <a:gd name="T51" fmla="*/ 2434 h 2842"/>
                <a:gd name="T52" fmla="*/ 24 w 2280"/>
                <a:gd name="T53" fmla="*/ 2507 h 2842"/>
                <a:gd name="T54" fmla="*/ 660 w 2280"/>
                <a:gd name="T55" fmla="*/ 2842 h 2842"/>
                <a:gd name="T56" fmla="*/ 735 w 2280"/>
                <a:gd name="T57" fmla="*/ 2605 h 2842"/>
                <a:gd name="T58" fmla="*/ 248 w 2280"/>
                <a:gd name="T59" fmla="*/ 2386 h 2842"/>
                <a:gd name="T60" fmla="*/ 248 w 2280"/>
                <a:gd name="T61" fmla="*/ 2083 h 2842"/>
                <a:gd name="T62" fmla="*/ 853 w 2280"/>
                <a:gd name="T63" fmla="*/ 2234 h 2842"/>
                <a:gd name="T64" fmla="*/ 930 w 2280"/>
                <a:gd name="T65" fmla="*/ 1992 h 2842"/>
                <a:gd name="T66" fmla="*/ 248 w 2280"/>
                <a:gd name="T67" fmla="*/ 1786 h 2842"/>
                <a:gd name="T68" fmla="*/ 249 w 2280"/>
                <a:gd name="T69" fmla="*/ 1403 h 2842"/>
                <a:gd name="T70" fmla="*/ 1064 w 2280"/>
                <a:gd name="T71" fmla="*/ 1568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80" h="2842">
                  <a:moveTo>
                    <a:pt x="1064" y="1568"/>
                  </a:moveTo>
                  <a:cubicBezTo>
                    <a:pt x="1142" y="1322"/>
                    <a:pt x="1142" y="1322"/>
                    <a:pt x="1142" y="1322"/>
                  </a:cubicBezTo>
                  <a:cubicBezTo>
                    <a:pt x="1140" y="1322"/>
                    <a:pt x="1138" y="1322"/>
                    <a:pt x="1135" y="1322"/>
                  </a:cubicBezTo>
                  <a:cubicBezTo>
                    <a:pt x="517" y="1322"/>
                    <a:pt x="305" y="1162"/>
                    <a:pt x="249" y="1103"/>
                  </a:cubicBezTo>
                  <a:cubicBezTo>
                    <a:pt x="249" y="775"/>
                    <a:pt x="249" y="775"/>
                    <a:pt x="249" y="775"/>
                  </a:cubicBezTo>
                  <a:cubicBezTo>
                    <a:pt x="415" y="862"/>
                    <a:pt x="688" y="943"/>
                    <a:pt x="1138" y="943"/>
                  </a:cubicBezTo>
                  <a:cubicBezTo>
                    <a:pt x="1182" y="943"/>
                    <a:pt x="1223" y="941"/>
                    <a:pt x="1263" y="940"/>
                  </a:cubicBezTo>
                  <a:cubicBezTo>
                    <a:pt x="1343" y="689"/>
                    <a:pt x="1343" y="689"/>
                    <a:pt x="1343" y="689"/>
                  </a:cubicBezTo>
                  <a:cubicBezTo>
                    <a:pt x="1280" y="693"/>
                    <a:pt x="1212" y="695"/>
                    <a:pt x="1138" y="695"/>
                  </a:cubicBezTo>
                  <a:cubicBezTo>
                    <a:pt x="537" y="695"/>
                    <a:pt x="321" y="544"/>
                    <a:pt x="257" y="481"/>
                  </a:cubicBezTo>
                  <a:cubicBezTo>
                    <a:pt x="303" y="400"/>
                    <a:pt x="518" y="248"/>
                    <a:pt x="1138" y="248"/>
                  </a:cubicBezTo>
                  <a:cubicBezTo>
                    <a:pt x="1781" y="248"/>
                    <a:pt x="1989" y="412"/>
                    <a:pt x="2024" y="484"/>
                  </a:cubicBezTo>
                  <a:cubicBezTo>
                    <a:pt x="2027" y="778"/>
                    <a:pt x="2027" y="778"/>
                    <a:pt x="2027" y="778"/>
                  </a:cubicBezTo>
                  <a:cubicBezTo>
                    <a:pt x="2028" y="777"/>
                    <a:pt x="2029" y="777"/>
                    <a:pt x="2030" y="777"/>
                  </a:cubicBezTo>
                  <a:cubicBezTo>
                    <a:pt x="2031" y="1102"/>
                    <a:pt x="2031" y="1102"/>
                    <a:pt x="2031" y="1102"/>
                  </a:cubicBezTo>
                  <a:cubicBezTo>
                    <a:pt x="2031" y="1102"/>
                    <a:pt x="2031" y="1102"/>
                    <a:pt x="2030" y="1102"/>
                  </a:cubicBezTo>
                  <a:cubicBezTo>
                    <a:pt x="2036" y="1711"/>
                    <a:pt x="2036" y="1711"/>
                    <a:pt x="2036" y="1711"/>
                  </a:cubicBezTo>
                  <a:cubicBezTo>
                    <a:pt x="2041" y="1711"/>
                    <a:pt x="2046" y="1710"/>
                    <a:pt x="2051" y="1710"/>
                  </a:cubicBezTo>
                  <a:cubicBezTo>
                    <a:pt x="2129" y="1710"/>
                    <a:pt x="2206" y="1718"/>
                    <a:pt x="2280" y="1732"/>
                  </a:cubicBezTo>
                  <a:cubicBezTo>
                    <a:pt x="2280" y="1710"/>
                    <a:pt x="2280" y="1710"/>
                    <a:pt x="2280" y="1710"/>
                  </a:cubicBezTo>
                  <a:cubicBezTo>
                    <a:pt x="2276" y="483"/>
                    <a:pt x="2276" y="483"/>
                    <a:pt x="2276" y="483"/>
                  </a:cubicBezTo>
                  <a:cubicBezTo>
                    <a:pt x="2276" y="479"/>
                    <a:pt x="2276" y="475"/>
                    <a:pt x="2275" y="471"/>
                  </a:cubicBezTo>
                  <a:cubicBezTo>
                    <a:pt x="2271" y="423"/>
                    <a:pt x="2199" y="0"/>
                    <a:pt x="1138" y="0"/>
                  </a:cubicBezTo>
                  <a:cubicBezTo>
                    <a:pt x="75" y="0"/>
                    <a:pt x="7" y="424"/>
                    <a:pt x="2" y="472"/>
                  </a:cubicBezTo>
                  <a:cubicBezTo>
                    <a:pt x="2" y="476"/>
                    <a:pt x="2" y="480"/>
                    <a:pt x="2" y="484"/>
                  </a:cubicBezTo>
                  <a:cubicBezTo>
                    <a:pt x="0" y="2434"/>
                    <a:pt x="0" y="2434"/>
                    <a:pt x="0" y="2434"/>
                  </a:cubicBezTo>
                  <a:cubicBezTo>
                    <a:pt x="0" y="2461"/>
                    <a:pt x="8" y="2486"/>
                    <a:pt x="24" y="2507"/>
                  </a:cubicBezTo>
                  <a:cubicBezTo>
                    <a:pt x="33" y="2519"/>
                    <a:pt x="202" y="2742"/>
                    <a:pt x="660" y="2842"/>
                  </a:cubicBezTo>
                  <a:cubicBezTo>
                    <a:pt x="735" y="2605"/>
                    <a:pt x="735" y="2605"/>
                    <a:pt x="735" y="2605"/>
                  </a:cubicBezTo>
                  <a:cubicBezTo>
                    <a:pt x="448" y="2547"/>
                    <a:pt x="301" y="2436"/>
                    <a:pt x="248" y="2386"/>
                  </a:cubicBezTo>
                  <a:cubicBezTo>
                    <a:pt x="248" y="2083"/>
                    <a:pt x="248" y="2083"/>
                    <a:pt x="248" y="2083"/>
                  </a:cubicBezTo>
                  <a:cubicBezTo>
                    <a:pt x="377" y="2149"/>
                    <a:pt x="569" y="2209"/>
                    <a:pt x="853" y="2234"/>
                  </a:cubicBezTo>
                  <a:cubicBezTo>
                    <a:pt x="930" y="1992"/>
                    <a:pt x="930" y="1992"/>
                    <a:pt x="930" y="1992"/>
                  </a:cubicBezTo>
                  <a:cubicBezTo>
                    <a:pt x="483" y="1964"/>
                    <a:pt x="307" y="1843"/>
                    <a:pt x="248" y="1786"/>
                  </a:cubicBezTo>
                  <a:cubicBezTo>
                    <a:pt x="249" y="1403"/>
                    <a:pt x="249" y="1403"/>
                    <a:pt x="249" y="1403"/>
                  </a:cubicBezTo>
                  <a:cubicBezTo>
                    <a:pt x="405" y="1485"/>
                    <a:pt x="659" y="1560"/>
                    <a:pt x="1064" y="1568"/>
                  </a:cubicBezTo>
                  <a:close/>
                </a:path>
              </a:pathLst>
            </a:custGeom>
            <a:solidFill>
              <a:srgbClr val="00A0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0" tIns="36000" rIns="36000" bIns="36000" numCol="1" anchor="b" anchorCtr="0" compatLnSpc="1">
              <a:prstTxWarp prst="textNoShape">
                <a:avLst/>
              </a:prstTxWarp>
            </a:bodyPr>
            <a:lstStyle/>
            <a:p>
              <a:endParaRPr lang="de-DE" sz="1500"/>
            </a:p>
          </p:txBody>
        </p:sp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51CFBC7-3E84-3179-9D60-958D0FBFC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2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99ED-E07B-4111-BFEA-7E6553FCF2C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A49B9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A49B9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C0ECDF-B35E-486D-8ECA-13314D0709FF}"/>
              </a:ext>
            </a:extLst>
          </p:cNvPr>
          <p:cNvSpPr txBox="1"/>
          <p:nvPr/>
        </p:nvSpPr>
        <p:spPr>
          <a:xfrm>
            <a:off x="972040" y="1199110"/>
            <a:ext cx="11193987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ährlicher Bluttest zur Früherkennung einer möglichen Krebserkrankung inklusive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labortechnischen Untersuchung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9CA2795-5063-431B-BA64-714386AA9F1A}"/>
              </a:ext>
            </a:extLst>
          </p:cNvPr>
          <p:cNvSpPr txBox="1"/>
          <p:nvPr/>
        </p:nvSpPr>
        <p:spPr>
          <a:xfrm>
            <a:off x="974761" y="3344731"/>
            <a:ext cx="8856236" cy="2492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leitende Leistungen für die Behandlung des diagnostizierten Krebs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 einem Krankenhausaufenthalt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• Übernahme der Kosten für einen Krebsspezialiste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• Übernahme der Kosten für die Unterbringung im Ein- oder Zwei-Bett-Zimmer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er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• Krankenhaustagegeld von 75,– EUR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ortkosten bei Gehunfähigkeit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rtagegeld von 75,– EUR für bis zu 42 Tag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CF36014-CA35-45A9-B897-1B8B021DB048}"/>
              </a:ext>
            </a:extLst>
          </p:cNvPr>
          <p:cNvSpPr txBox="1"/>
          <p:nvPr/>
        </p:nvSpPr>
        <p:spPr>
          <a:xfrm>
            <a:off x="972040" y="2093947"/>
            <a:ext cx="8858957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 Verdachtsfall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klärung des Verdachts und Lokalisation des Krebses durch e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ldgebendes Verfahren (PET/CT und MRT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FAC6D01-8FFE-A16F-A741-3EA2392C9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76250"/>
            <a:ext cx="11376025" cy="712787"/>
          </a:xfrm>
        </p:spPr>
        <p:txBody>
          <a:bodyPr/>
          <a:lstStyle/>
          <a:p>
            <a:r>
              <a:rPr lang="de-DE" dirty="0">
                <a:latin typeface="+mj-lt"/>
              </a:rPr>
              <a:t>Krebs-Scan (BKZY) – nur bei der HanseMerkur</a:t>
            </a:r>
            <a:endParaRPr lang="de-DE" dirty="0"/>
          </a:p>
        </p:txBody>
      </p:sp>
      <p:sp>
        <p:nvSpPr>
          <p:cNvPr id="9" name="Grafik 154">
            <a:extLst>
              <a:ext uri="{FF2B5EF4-FFF2-40B4-BE49-F238E27FC236}">
                <a16:creationId xmlns:a16="http://schemas.microsoft.com/office/drawing/2014/main" id="{7235B00C-BACC-3904-BC96-DB585E7C4B70}"/>
              </a:ext>
            </a:extLst>
          </p:cNvPr>
          <p:cNvSpPr>
            <a:spLocks noChangeAspect="1"/>
          </p:cNvSpPr>
          <p:nvPr/>
        </p:nvSpPr>
        <p:spPr bwMode="gray">
          <a:xfrm>
            <a:off x="407987" y="1189037"/>
            <a:ext cx="359421" cy="305028"/>
          </a:xfrm>
          <a:custGeom>
            <a:avLst/>
            <a:gdLst>
              <a:gd name="connsiteX0" fmla="*/ 1065371 w 3209925"/>
              <a:gd name="connsiteY0" fmla="*/ 1799177 h 2724150"/>
              <a:gd name="connsiteX1" fmla="*/ 0 w 3209925"/>
              <a:gd name="connsiteY1" fmla="*/ 904780 h 2724150"/>
              <a:gd name="connsiteX2" fmla="*/ 0 w 3209925"/>
              <a:gd name="connsiteY2" fmla="*/ 1955387 h 2724150"/>
              <a:gd name="connsiteX3" fmla="*/ 807625 w 3209925"/>
              <a:gd name="connsiteY3" fmla="*/ 2633472 h 2724150"/>
              <a:gd name="connsiteX4" fmla="*/ 1325975 w 3209925"/>
              <a:gd name="connsiteY4" fmla="*/ 2632710 h 2724150"/>
              <a:gd name="connsiteX5" fmla="*/ 3213545 w 3209925"/>
              <a:gd name="connsiteY5" fmla="*/ 1053751 h 2724150"/>
              <a:gd name="connsiteX6" fmla="*/ 3213545 w 3209925"/>
              <a:gd name="connsiteY6" fmla="*/ 0 h 2724150"/>
              <a:gd name="connsiteX7" fmla="*/ 1065371 w 3209925"/>
              <a:gd name="connsiteY7" fmla="*/ 1799177 h 272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9925" h="2724150">
                <a:moveTo>
                  <a:pt x="1065371" y="1799177"/>
                </a:moveTo>
                <a:lnTo>
                  <a:pt x="0" y="904780"/>
                </a:lnTo>
                <a:lnTo>
                  <a:pt x="0" y="1955387"/>
                </a:lnTo>
                <a:lnTo>
                  <a:pt x="807625" y="2633472"/>
                </a:lnTo>
                <a:cubicBezTo>
                  <a:pt x="957453" y="2759393"/>
                  <a:pt x="1176433" y="2759297"/>
                  <a:pt x="1325975" y="2632710"/>
                </a:cubicBezTo>
                <a:lnTo>
                  <a:pt x="3213545" y="1053751"/>
                </a:lnTo>
                <a:lnTo>
                  <a:pt x="3213545" y="0"/>
                </a:lnTo>
                <a:lnTo>
                  <a:pt x="1065371" y="1799177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Grafik 154">
            <a:extLst>
              <a:ext uri="{FF2B5EF4-FFF2-40B4-BE49-F238E27FC236}">
                <a16:creationId xmlns:a16="http://schemas.microsoft.com/office/drawing/2014/main" id="{1684B81A-D917-61D1-3780-118F484D75BA}"/>
              </a:ext>
            </a:extLst>
          </p:cNvPr>
          <p:cNvSpPr>
            <a:spLocks noChangeAspect="1"/>
          </p:cNvSpPr>
          <p:nvPr/>
        </p:nvSpPr>
        <p:spPr bwMode="gray">
          <a:xfrm>
            <a:off x="407987" y="2115860"/>
            <a:ext cx="359421" cy="305028"/>
          </a:xfrm>
          <a:custGeom>
            <a:avLst/>
            <a:gdLst>
              <a:gd name="connsiteX0" fmla="*/ 1065371 w 3209925"/>
              <a:gd name="connsiteY0" fmla="*/ 1799177 h 2724150"/>
              <a:gd name="connsiteX1" fmla="*/ 0 w 3209925"/>
              <a:gd name="connsiteY1" fmla="*/ 904780 h 2724150"/>
              <a:gd name="connsiteX2" fmla="*/ 0 w 3209925"/>
              <a:gd name="connsiteY2" fmla="*/ 1955387 h 2724150"/>
              <a:gd name="connsiteX3" fmla="*/ 807625 w 3209925"/>
              <a:gd name="connsiteY3" fmla="*/ 2633472 h 2724150"/>
              <a:gd name="connsiteX4" fmla="*/ 1325975 w 3209925"/>
              <a:gd name="connsiteY4" fmla="*/ 2632710 h 2724150"/>
              <a:gd name="connsiteX5" fmla="*/ 3213545 w 3209925"/>
              <a:gd name="connsiteY5" fmla="*/ 1053751 h 2724150"/>
              <a:gd name="connsiteX6" fmla="*/ 3213545 w 3209925"/>
              <a:gd name="connsiteY6" fmla="*/ 0 h 2724150"/>
              <a:gd name="connsiteX7" fmla="*/ 1065371 w 3209925"/>
              <a:gd name="connsiteY7" fmla="*/ 1799177 h 272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9925" h="2724150">
                <a:moveTo>
                  <a:pt x="1065371" y="1799177"/>
                </a:moveTo>
                <a:lnTo>
                  <a:pt x="0" y="904780"/>
                </a:lnTo>
                <a:lnTo>
                  <a:pt x="0" y="1955387"/>
                </a:lnTo>
                <a:lnTo>
                  <a:pt x="807625" y="2633472"/>
                </a:lnTo>
                <a:cubicBezTo>
                  <a:pt x="957453" y="2759393"/>
                  <a:pt x="1176433" y="2759297"/>
                  <a:pt x="1325975" y="2632710"/>
                </a:cubicBezTo>
                <a:lnTo>
                  <a:pt x="3213545" y="1053751"/>
                </a:lnTo>
                <a:lnTo>
                  <a:pt x="3213545" y="0"/>
                </a:lnTo>
                <a:lnTo>
                  <a:pt x="1065371" y="1799177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Grafik 154">
            <a:extLst>
              <a:ext uri="{FF2B5EF4-FFF2-40B4-BE49-F238E27FC236}">
                <a16:creationId xmlns:a16="http://schemas.microsoft.com/office/drawing/2014/main" id="{E44FD846-12F7-FD70-DDCD-A25FDCAB3C29}"/>
              </a:ext>
            </a:extLst>
          </p:cNvPr>
          <p:cNvSpPr>
            <a:spLocks noChangeAspect="1"/>
          </p:cNvSpPr>
          <p:nvPr/>
        </p:nvSpPr>
        <p:spPr bwMode="gray">
          <a:xfrm>
            <a:off x="407987" y="3344731"/>
            <a:ext cx="359421" cy="305028"/>
          </a:xfrm>
          <a:custGeom>
            <a:avLst/>
            <a:gdLst>
              <a:gd name="connsiteX0" fmla="*/ 1065371 w 3209925"/>
              <a:gd name="connsiteY0" fmla="*/ 1799177 h 2724150"/>
              <a:gd name="connsiteX1" fmla="*/ 0 w 3209925"/>
              <a:gd name="connsiteY1" fmla="*/ 904780 h 2724150"/>
              <a:gd name="connsiteX2" fmla="*/ 0 w 3209925"/>
              <a:gd name="connsiteY2" fmla="*/ 1955387 h 2724150"/>
              <a:gd name="connsiteX3" fmla="*/ 807625 w 3209925"/>
              <a:gd name="connsiteY3" fmla="*/ 2633472 h 2724150"/>
              <a:gd name="connsiteX4" fmla="*/ 1325975 w 3209925"/>
              <a:gd name="connsiteY4" fmla="*/ 2632710 h 2724150"/>
              <a:gd name="connsiteX5" fmla="*/ 3213545 w 3209925"/>
              <a:gd name="connsiteY5" fmla="*/ 1053751 h 2724150"/>
              <a:gd name="connsiteX6" fmla="*/ 3213545 w 3209925"/>
              <a:gd name="connsiteY6" fmla="*/ 0 h 2724150"/>
              <a:gd name="connsiteX7" fmla="*/ 1065371 w 3209925"/>
              <a:gd name="connsiteY7" fmla="*/ 1799177 h 272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9925" h="2724150">
                <a:moveTo>
                  <a:pt x="1065371" y="1799177"/>
                </a:moveTo>
                <a:lnTo>
                  <a:pt x="0" y="904780"/>
                </a:lnTo>
                <a:lnTo>
                  <a:pt x="0" y="1955387"/>
                </a:lnTo>
                <a:lnTo>
                  <a:pt x="807625" y="2633472"/>
                </a:lnTo>
                <a:cubicBezTo>
                  <a:pt x="957453" y="2759393"/>
                  <a:pt x="1176433" y="2759297"/>
                  <a:pt x="1325975" y="2632710"/>
                </a:cubicBezTo>
                <a:lnTo>
                  <a:pt x="3213545" y="1053751"/>
                </a:lnTo>
                <a:lnTo>
                  <a:pt x="3213545" y="0"/>
                </a:lnTo>
                <a:lnTo>
                  <a:pt x="1065371" y="1799177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305D3DD8-F0EC-6C19-1644-DA845348924F}"/>
              </a:ext>
            </a:extLst>
          </p:cNvPr>
          <p:cNvCxnSpPr>
            <a:cxnSpLocks/>
          </p:cNvCxnSpPr>
          <p:nvPr/>
        </p:nvCxnSpPr>
        <p:spPr bwMode="gray">
          <a:xfrm>
            <a:off x="972040" y="3140968"/>
            <a:ext cx="8508336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2">
            <a:extLst>
              <a:ext uri="{FF2B5EF4-FFF2-40B4-BE49-F238E27FC236}">
                <a16:creationId xmlns:a16="http://schemas.microsoft.com/office/drawing/2014/main" id="{8F5A6227-D5D1-8FCA-81EE-535065DBCD4C}"/>
              </a:ext>
            </a:extLst>
          </p:cNvPr>
          <p:cNvCxnSpPr>
            <a:cxnSpLocks/>
          </p:cNvCxnSpPr>
          <p:nvPr/>
        </p:nvCxnSpPr>
        <p:spPr bwMode="gray">
          <a:xfrm>
            <a:off x="972040" y="1916832"/>
            <a:ext cx="8508336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3">
            <a:extLst>
              <a:ext uri="{FF2B5EF4-FFF2-40B4-BE49-F238E27FC236}">
                <a16:creationId xmlns:a16="http://schemas.microsoft.com/office/drawing/2014/main" id="{F0F533B4-DBE8-6A2F-24C5-CA2C830BFBAC}"/>
              </a:ext>
            </a:extLst>
          </p:cNvPr>
          <p:cNvSpPr txBox="1">
            <a:spLocks/>
          </p:cNvSpPr>
          <p:nvPr/>
        </p:nvSpPr>
        <p:spPr bwMode="gray">
          <a:xfrm>
            <a:off x="9984432" y="1730063"/>
            <a:ext cx="1558763" cy="1558763"/>
          </a:xfrm>
          <a:prstGeom prst="ellipse">
            <a:avLst/>
          </a:prstGeom>
          <a:solidFill>
            <a:srgbClr val="D88210"/>
          </a:solidFill>
          <a:ln w="9525" cmpd="sng">
            <a:noFill/>
            <a:prstDash val="solid"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sten hierfür liegen bei 3.000,– bis 4.000,– E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FF2A12D-C74E-772B-F6FA-3D839A25DA24}"/>
              </a:ext>
            </a:extLst>
          </p:cNvPr>
          <p:cNvSpPr txBox="1"/>
          <p:nvPr/>
        </p:nvSpPr>
        <p:spPr>
          <a:xfrm>
            <a:off x="10448925" y="6300557"/>
            <a:ext cx="61912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sng" strike="noStrike" kern="0" cap="none" spc="0" normalizeH="0" baseline="0" noProof="0" dirty="0">
                <a:ln>
                  <a:noFill/>
                </a:ln>
                <a:solidFill>
                  <a:srgbClr val="7DBF68">
                    <a:lumMod val="75000"/>
                  </a:srgbClr>
                </a:solidFill>
                <a:effectLst/>
                <a:highlight>
                  <a:srgbClr val="C0C0C0"/>
                </a:highlight>
                <a:uLnTx/>
                <a:uFillTx/>
                <a:hlinkClick r:id="rId2" action="ppaction://hlinksldjump"/>
              </a:rPr>
              <a:t>zurück</a:t>
            </a:r>
            <a:endParaRPr kumimoji="0" lang="de-DE" sz="1600" b="0" i="0" u="sng" strike="noStrike" kern="0" cap="none" spc="0" normalizeH="0" baseline="0" noProof="0" dirty="0">
              <a:ln>
                <a:noFill/>
              </a:ln>
              <a:solidFill>
                <a:srgbClr val="7DBF68">
                  <a:lumMod val="75000"/>
                </a:srgbClr>
              </a:solidFill>
              <a:effectLst/>
              <a:highlight>
                <a:srgbClr val="C0C0C0"/>
              </a:highlight>
              <a:uLnTx/>
              <a:uFillTx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54CDBD-E610-6943-73F8-E40A1214B6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344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E8235CF2-FC1F-C803-DB7B-79B704F5D3B5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2A2ECF2-A348-094D-C3B7-CD139921E68A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A019DE1-8DFD-38ED-DB25-78EC2860CCF0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AB1C4A-7FA9-CA51-427B-92AAEEA762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64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6FF69547-80AA-B844-8CEF-CB15E83265FA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8BFB96-A1D1-507F-A8C2-D9BC2B470B4D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D847687F-7E00-51CA-9361-36F8C3932620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71F81E-7B16-A896-B577-531C451C46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93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AA4F033B-1CCD-2FCF-94BA-B623A28A48AF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CF1C6DC-8E96-EE77-44E6-84A879E4CC7A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F4D3018-3DD1-30AA-4424-02FE535B1AD5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7918FBC-A057-6C35-9518-2B9753201D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35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940AB275-A80C-29E6-A362-DDA036F59D56}"/>
              </a:ext>
            </a:extLst>
          </p:cNvPr>
          <p:cNvSpPr/>
          <p:nvPr/>
        </p:nvSpPr>
        <p:spPr bwMode="gray">
          <a:xfrm>
            <a:off x="5036776" y="22230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>
              <a:solidFill>
                <a:schemeClr val="accent3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6DD570-C1E5-C741-1E04-0F25ED5B09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24350" y="121645"/>
            <a:ext cx="11943299" cy="661471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2EBF8701-952C-92F1-0158-A17561ACFE06}"/>
              </a:ext>
            </a:extLst>
          </p:cNvPr>
          <p:cNvSpPr/>
          <p:nvPr/>
        </p:nvSpPr>
        <p:spPr bwMode="gray">
          <a:xfrm>
            <a:off x="5189176" y="2375400"/>
            <a:ext cx="6583774" cy="2412000"/>
          </a:xfrm>
          <a:prstGeom prst="roundRect">
            <a:avLst>
              <a:gd name="adj" fmla="val 2327"/>
            </a:avLst>
          </a:prstGeom>
          <a:gradFill flip="none" rotWithShape="1">
            <a:gsLst>
              <a:gs pos="10000">
                <a:schemeClr val="accent3">
                  <a:alpha val="95000"/>
                </a:schemeClr>
              </a:gs>
              <a:gs pos="80000">
                <a:schemeClr val="accent1">
                  <a:alpha val="95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indent="0" algn="ctr">
              <a:lnSpc>
                <a:spcPct val="110000"/>
              </a:lnSpc>
              <a:spcBef>
                <a:spcPts val="600"/>
              </a:spcBef>
              <a:buFontTx/>
              <a:buNone/>
            </a:pPr>
            <a:endParaRPr lang="de-DE" sz="100" dirty="0">
              <a:solidFill>
                <a:schemeClr val="accent3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A3FD294-61F7-4BCD-5F51-64420CE3B9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59985" y="3277507"/>
            <a:ext cx="1376830" cy="655200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FF165938-A4F1-2948-4110-17F2FA38EAE3}"/>
              </a:ext>
            </a:extLst>
          </p:cNvPr>
          <p:cNvSpPr/>
          <p:nvPr/>
        </p:nvSpPr>
        <p:spPr bwMode="gray">
          <a:xfrm>
            <a:off x="10332624" y="327026"/>
            <a:ext cx="1287926" cy="499268"/>
          </a:xfrm>
          <a:prstGeom prst="roundRect">
            <a:avLst>
              <a:gd name="adj" fmla="val 90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4E799E7-7DBE-43C0-613D-BAB33543FCE5}"/>
              </a:ext>
            </a:extLst>
          </p:cNvPr>
          <p:cNvSpPr txBox="1"/>
          <p:nvPr/>
        </p:nvSpPr>
        <p:spPr bwMode="gray">
          <a:xfrm>
            <a:off x="10332625" y="327026"/>
            <a:ext cx="1287926" cy="49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6"/>
                </a:solidFill>
              </a:rPr>
              <a:t>LOGO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4309637-2F96-8ADA-19C6-09F6CC51B722}"/>
              </a:ext>
            </a:extLst>
          </p:cNvPr>
          <p:cNvSpPr txBox="1">
            <a:spLocks/>
          </p:cNvSpPr>
          <p:nvPr/>
        </p:nvSpPr>
        <p:spPr bwMode="gray">
          <a:xfrm>
            <a:off x="7896225" y="2878785"/>
            <a:ext cx="3674733" cy="12240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Mit der betrieblichen Krankenversicherung </a:t>
            </a:r>
            <a:r>
              <a:rPr lang="de-DE" dirty="0"/>
              <a:t>zum Top-Arbeitgebe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B41E9C7-9FEB-59B0-7B91-725D8CF5A0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2882" y="4423854"/>
            <a:ext cx="1603977" cy="200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18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>
            <a:extLst>
              <a:ext uri="{FF2B5EF4-FFF2-40B4-BE49-F238E27FC236}">
                <a16:creationId xmlns:a16="http://schemas.microsoft.com/office/drawing/2014/main" id="{966EE017-36F6-92B8-FE3B-7BA0AAFC13B7}"/>
              </a:ext>
            </a:extLst>
          </p:cNvPr>
          <p:cNvSpPr/>
          <p:nvPr/>
        </p:nvSpPr>
        <p:spPr bwMode="gray">
          <a:xfrm>
            <a:off x="407988" y="516885"/>
            <a:ext cx="113760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Instrument zur </a:t>
            </a:r>
            <a:r>
              <a:rPr lang="de-DE" sz="5400" b="1" dirty="0">
                <a:solidFill>
                  <a:schemeClr val="accent1"/>
                </a:solidFill>
              </a:rPr>
              <a:t>Mitarbeiter-motivation und -bindung</a:t>
            </a:r>
            <a:endParaRPr lang="de-DE" sz="5400" dirty="0">
              <a:solidFill>
                <a:schemeClr val="accent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77848B1-B40E-D5EA-30F3-8110F2AABC03}"/>
              </a:ext>
            </a:extLst>
          </p:cNvPr>
          <p:cNvSpPr/>
          <p:nvPr/>
        </p:nvSpPr>
        <p:spPr bwMode="gray">
          <a:xfrm>
            <a:off x="3364209" y="2560894"/>
            <a:ext cx="1728000" cy="9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Grundvergüt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3A6676-0CBB-7B3B-141E-54A8F2AA2E95}"/>
              </a:ext>
            </a:extLst>
          </p:cNvPr>
          <p:cNvSpPr/>
          <p:nvPr/>
        </p:nvSpPr>
        <p:spPr bwMode="gray">
          <a:xfrm>
            <a:off x="7109831" y="2577870"/>
            <a:ext cx="1728000" cy="9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Boni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1315375-09AF-89E8-7EC5-BAA276CFA4DE}"/>
              </a:ext>
            </a:extLst>
          </p:cNvPr>
          <p:cNvSpPr/>
          <p:nvPr/>
        </p:nvSpPr>
        <p:spPr bwMode="gray">
          <a:xfrm>
            <a:off x="5237379" y="2567376"/>
            <a:ext cx="1728000" cy="9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Prämien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65B0076-D995-D1EE-6B51-4C48FBF85BDB}"/>
              </a:ext>
            </a:extLst>
          </p:cNvPr>
          <p:cNvSpPr/>
          <p:nvPr/>
        </p:nvSpPr>
        <p:spPr bwMode="gray">
          <a:xfrm>
            <a:off x="7109831" y="3658034"/>
            <a:ext cx="1728000" cy="9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Betriebliche Altersvorsorg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2F64BFA-8E96-9C7C-4C31-6DCE355982F3}"/>
              </a:ext>
            </a:extLst>
          </p:cNvPr>
          <p:cNvSpPr/>
          <p:nvPr/>
        </p:nvSpPr>
        <p:spPr bwMode="gray">
          <a:xfrm>
            <a:off x="3364209" y="3658034"/>
            <a:ext cx="1728000" cy="9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Aktienoptione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2E49BE1-A912-5D89-01AE-789563D6683B}"/>
              </a:ext>
            </a:extLst>
          </p:cNvPr>
          <p:cNvSpPr/>
          <p:nvPr/>
        </p:nvSpPr>
        <p:spPr bwMode="gray">
          <a:xfrm>
            <a:off x="3364209" y="4755174"/>
            <a:ext cx="1728000" cy="9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Zusatzleistunge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1CB77E4F-2F99-C839-80E7-E9CFF0F3DDAA}"/>
              </a:ext>
            </a:extLst>
          </p:cNvPr>
          <p:cNvSpPr/>
          <p:nvPr/>
        </p:nvSpPr>
        <p:spPr bwMode="gray">
          <a:xfrm>
            <a:off x="5232000" y="3651196"/>
            <a:ext cx="1728000" cy="972000"/>
          </a:xfrm>
          <a:prstGeom prst="rect">
            <a:avLst/>
          </a:prstGeom>
          <a:solidFill>
            <a:srgbClr val="EB5B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Firmen-Gesundheitsschutz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4047A7E5-C20F-7BE9-80A7-AB950DFB2456}"/>
              </a:ext>
            </a:extLst>
          </p:cNvPr>
          <p:cNvSpPr/>
          <p:nvPr/>
        </p:nvSpPr>
        <p:spPr bwMode="gray">
          <a:xfrm>
            <a:off x="7109831" y="4755174"/>
            <a:ext cx="1728000" cy="9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… und mehr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B9298BEE-EFB4-3986-319D-67179EEE7E0A}"/>
              </a:ext>
            </a:extLst>
          </p:cNvPr>
          <p:cNvSpPr/>
          <p:nvPr/>
        </p:nvSpPr>
        <p:spPr bwMode="gray">
          <a:xfrm>
            <a:off x="5232000" y="4755174"/>
            <a:ext cx="1728000" cy="9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 anchorCtr="0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000" dirty="0">
                <a:solidFill>
                  <a:schemeClr val="bg1"/>
                </a:solidFill>
              </a:rPr>
              <a:t>Dienstwagen</a:t>
            </a:r>
          </a:p>
        </p:txBody>
      </p:sp>
      <p:grpSp>
        <p:nvGrpSpPr>
          <p:cNvPr id="84" name="Grafik 19">
            <a:extLst>
              <a:ext uri="{FF2B5EF4-FFF2-40B4-BE49-F238E27FC236}">
                <a16:creationId xmlns:a16="http://schemas.microsoft.com/office/drawing/2014/main" id="{24AB0E9C-62DB-0AA6-1CDE-D62BA8C2376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068788" y="2735862"/>
            <a:ext cx="396197" cy="540000"/>
            <a:chOff x="4167187" y="800100"/>
            <a:chExt cx="3857625" cy="5257800"/>
          </a:xfrm>
          <a:solidFill>
            <a:schemeClr val="bg1"/>
          </a:solidFill>
        </p:grpSpPr>
        <p:sp>
          <p:nvSpPr>
            <p:cNvPr id="85" name="Freihandform: Form 21">
              <a:extLst>
                <a:ext uri="{FF2B5EF4-FFF2-40B4-BE49-F238E27FC236}">
                  <a16:creationId xmlns:a16="http://schemas.microsoft.com/office/drawing/2014/main" id="{E57E2520-5E80-F48A-1EE7-2BDCA7309823}"/>
                </a:ext>
              </a:extLst>
            </p:cNvPr>
            <p:cNvSpPr/>
            <p:nvPr/>
          </p:nvSpPr>
          <p:spPr bwMode="gray">
            <a:xfrm>
              <a:off x="5511926" y="3547586"/>
              <a:ext cx="2505075" cy="2505075"/>
            </a:xfrm>
            <a:custGeom>
              <a:avLst/>
              <a:gdLst>
                <a:gd name="connsiteX0" fmla="*/ 1251395 w 2505075"/>
                <a:gd name="connsiteY0" fmla="*/ 0 h 2505075"/>
                <a:gd name="connsiteX1" fmla="*/ 0 w 2505075"/>
                <a:gd name="connsiteY1" fmla="*/ 1257490 h 2505075"/>
                <a:gd name="connsiteX2" fmla="*/ 1257491 w 2505075"/>
                <a:gd name="connsiteY2" fmla="*/ 2508885 h 2505075"/>
                <a:gd name="connsiteX3" fmla="*/ 2508885 w 2505075"/>
                <a:gd name="connsiteY3" fmla="*/ 1257490 h 2505075"/>
                <a:gd name="connsiteX4" fmla="*/ 1251395 w 2505075"/>
                <a:gd name="connsiteY4" fmla="*/ 0 h 2505075"/>
                <a:gd name="connsiteX5" fmla="*/ 1713643 w 2505075"/>
                <a:gd name="connsiteY5" fmla="*/ 820007 h 2505075"/>
                <a:gd name="connsiteX6" fmla="*/ 1411510 w 2505075"/>
                <a:gd name="connsiteY6" fmla="*/ 721233 h 2505075"/>
                <a:gd name="connsiteX7" fmla="*/ 1023080 w 2505075"/>
                <a:gd name="connsiteY7" fmla="*/ 986218 h 2505075"/>
                <a:gd name="connsiteX8" fmla="*/ 1466850 w 2505075"/>
                <a:gd name="connsiteY8" fmla="*/ 986218 h 2505075"/>
                <a:gd name="connsiteX9" fmla="*/ 1429988 w 2505075"/>
                <a:gd name="connsiteY9" fmla="*/ 1189673 h 2505075"/>
                <a:gd name="connsiteX10" fmla="*/ 979932 w 2505075"/>
                <a:gd name="connsiteY10" fmla="*/ 1189673 h 2505075"/>
                <a:gd name="connsiteX11" fmla="*/ 973931 w 2505075"/>
                <a:gd name="connsiteY11" fmla="*/ 1257300 h 2505075"/>
                <a:gd name="connsiteX12" fmla="*/ 979932 w 2505075"/>
                <a:gd name="connsiteY12" fmla="*/ 1337596 h 2505075"/>
                <a:gd name="connsiteX13" fmla="*/ 1405319 w 2505075"/>
                <a:gd name="connsiteY13" fmla="*/ 1337596 h 2505075"/>
                <a:gd name="connsiteX14" fmla="*/ 1368457 w 2505075"/>
                <a:gd name="connsiteY14" fmla="*/ 1534763 h 2505075"/>
                <a:gd name="connsiteX15" fmla="*/ 1029367 w 2505075"/>
                <a:gd name="connsiteY15" fmla="*/ 1534763 h 2505075"/>
                <a:gd name="connsiteX16" fmla="*/ 1411510 w 2505075"/>
                <a:gd name="connsiteY16" fmla="*/ 1799749 h 2505075"/>
                <a:gd name="connsiteX17" fmla="*/ 1713643 w 2505075"/>
                <a:gd name="connsiteY17" fmla="*/ 1694974 h 2505075"/>
                <a:gd name="connsiteX18" fmla="*/ 1713643 w 2505075"/>
                <a:gd name="connsiteY18" fmla="*/ 2015585 h 2505075"/>
                <a:gd name="connsiteX19" fmla="*/ 1393222 w 2505075"/>
                <a:gd name="connsiteY19" fmla="*/ 2089594 h 2505075"/>
                <a:gd name="connsiteX20" fmla="*/ 690372 w 2505075"/>
                <a:gd name="connsiteY20" fmla="*/ 1534668 h 2505075"/>
                <a:gd name="connsiteX21" fmla="*/ 530066 w 2505075"/>
                <a:gd name="connsiteY21" fmla="*/ 1534668 h 2505075"/>
                <a:gd name="connsiteX22" fmla="*/ 530066 w 2505075"/>
                <a:gd name="connsiteY22" fmla="*/ 1337500 h 2505075"/>
                <a:gd name="connsiteX23" fmla="*/ 659511 w 2505075"/>
                <a:gd name="connsiteY23" fmla="*/ 1337500 h 2505075"/>
                <a:gd name="connsiteX24" fmla="*/ 653320 w 2505075"/>
                <a:gd name="connsiteY24" fmla="*/ 1257205 h 2505075"/>
                <a:gd name="connsiteX25" fmla="*/ 659511 w 2505075"/>
                <a:gd name="connsiteY25" fmla="*/ 1189577 h 2505075"/>
                <a:gd name="connsiteX26" fmla="*/ 530066 w 2505075"/>
                <a:gd name="connsiteY26" fmla="*/ 1189577 h 2505075"/>
                <a:gd name="connsiteX27" fmla="*/ 530066 w 2505075"/>
                <a:gd name="connsiteY27" fmla="*/ 986123 h 2505075"/>
                <a:gd name="connsiteX28" fmla="*/ 690372 w 2505075"/>
                <a:gd name="connsiteY28" fmla="*/ 986123 h 2505075"/>
                <a:gd name="connsiteX29" fmla="*/ 1399223 w 2505075"/>
                <a:gd name="connsiteY29" fmla="*/ 425196 h 2505075"/>
                <a:gd name="connsiteX30" fmla="*/ 1713643 w 2505075"/>
                <a:gd name="connsiteY30" fmla="*/ 505301 h 2505075"/>
                <a:gd name="connsiteX31" fmla="*/ 1713643 w 2505075"/>
                <a:gd name="connsiteY31" fmla="*/ 820007 h 2505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05075" h="2505075">
                  <a:moveTo>
                    <a:pt x="1251395" y="0"/>
                  </a:moveTo>
                  <a:cubicBezTo>
                    <a:pt x="554546" y="0"/>
                    <a:pt x="0" y="579596"/>
                    <a:pt x="0" y="1257490"/>
                  </a:cubicBezTo>
                  <a:cubicBezTo>
                    <a:pt x="0" y="1923383"/>
                    <a:pt x="542449" y="2508885"/>
                    <a:pt x="1257491" y="2508885"/>
                  </a:cubicBezTo>
                  <a:cubicBezTo>
                    <a:pt x="1954149" y="2508885"/>
                    <a:pt x="2508885" y="1953958"/>
                    <a:pt x="2508885" y="1257490"/>
                  </a:cubicBezTo>
                  <a:cubicBezTo>
                    <a:pt x="2508980" y="579406"/>
                    <a:pt x="1972628" y="0"/>
                    <a:pt x="1251395" y="0"/>
                  </a:cubicBezTo>
                  <a:close/>
                  <a:moveTo>
                    <a:pt x="1713643" y="820007"/>
                  </a:moveTo>
                  <a:cubicBezTo>
                    <a:pt x="1620964" y="751999"/>
                    <a:pt x="1516380" y="721233"/>
                    <a:pt x="1411510" y="721233"/>
                  </a:cubicBezTo>
                  <a:cubicBezTo>
                    <a:pt x="1239012" y="721233"/>
                    <a:pt x="1097089" y="820007"/>
                    <a:pt x="1023080" y="986218"/>
                  </a:cubicBezTo>
                  <a:lnTo>
                    <a:pt x="1466850" y="986218"/>
                  </a:lnTo>
                  <a:lnTo>
                    <a:pt x="1429988" y="1189673"/>
                  </a:lnTo>
                  <a:lnTo>
                    <a:pt x="979932" y="1189673"/>
                  </a:lnTo>
                  <a:lnTo>
                    <a:pt x="973931" y="1257300"/>
                  </a:lnTo>
                  <a:lnTo>
                    <a:pt x="979932" y="1337596"/>
                  </a:lnTo>
                  <a:lnTo>
                    <a:pt x="1405319" y="1337596"/>
                  </a:lnTo>
                  <a:lnTo>
                    <a:pt x="1368457" y="1534763"/>
                  </a:lnTo>
                  <a:lnTo>
                    <a:pt x="1029367" y="1534763"/>
                  </a:lnTo>
                  <a:cubicBezTo>
                    <a:pt x="1103376" y="1701260"/>
                    <a:pt x="1239012" y="1799749"/>
                    <a:pt x="1411510" y="1799749"/>
                  </a:cubicBezTo>
                  <a:cubicBezTo>
                    <a:pt x="1516285" y="1799749"/>
                    <a:pt x="1620964" y="1762792"/>
                    <a:pt x="1713643" y="1694974"/>
                  </a:cubicBezTo>
                  <a:lnTo>
                    <a:pt x="1713643" y="2015585"/>
                  </a:lnTo>
                  <a:cubicBezTo>
                    <a:pt x="1620964" y="2064925"/>
                    <a:pt x="1516380" y="2089594"/>
                    <a:pt x="1393222" y="2089594"/>
                  </a:cubicBezTo>
                  <a:cubicBezTo>
                    <a:pt x="1054132" y="2089594"/>
                    <a:pt x="782860" y="1879854"/>
                    <a:pt x="690372" y="1534668"/>
                  </a:cubicBezTo>
                  <a:lnTo>
                    <a:pt x="530066" y="1534668"/>
                  </a:lnTo>
                  <a:lnTo>
                    <a:pt x="530066" y="1337500"/>
                  </a:lnTo>
                  <a:lnTo>
                    <a:pt x="659511" y="1337500"/>
                  </a:lnTo>
                  <a:cubicBezTo>
                    <a:pt x="653320" y="1318831"/>
                    <a:pt x="653320" y="1294162"/>
                    <a:pt x="653320" y="1257205"/>
                  </a:cubicBezTo>
                  <a:lnTo>
                    <a:pt x="659511" y="1189577"/>
                  </a:lnTo>
                  <a:lnTo>
                    <a:pt x="530066" y="1189577"/>
                  </a:lnTo>
                  <a:lnTo>
                    <a:pt x="530066" y="986123"/>
                  </a:lnTo>
                  <a:lnTo>
                    <a:pt x="690372" y="986123"/>
                  </a:lnTo>
                  <a:cubicBezTo>
                    <a:pt x="782860" y="641128"/>
                    <a:pt x="1053941" y="425196"/>
                    <a:pt x="1399223" y="425196"/>
                  </a:cubicBezTo>
                  <a:cubicBezTo>
                    <a:pt x="1516380" y="425196"/>
                    <a:pt x="1621060" y="449866"/>
                    <a:pt x="1713643" y="505301"/>
                  </a:cubicBezTo>
                  <a:lnTo>
                    <a:pt x="1713643" y="8200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22">
              <a:extLst>
                <a:ext uri="{FF2B5EF4-FFF2-40B4-BE49-F238E27FC236}">
                  <a16:creationId xmlns:a16="http://schemas.microsoft.com/office/drawing/2014/main" id="{232B3DD7-00A2-8EA9-C0B6-216DFF7E4F50}"/>
                </a:ext>
              </a:extLst>
            </p:cNvPr>
            <p:cNvSpPr/>
            <p:nvPr/>
          </p:nvSpPr>
          <p:spPr bwMode="gray">
            <a:xfrm>
              <a:off x="4167187" y="800100"/>
              <a:ext cx="3181350" cy="4000500"/>
            </a:xfrm>
            <a:custGeom>
              <a:avLst/>
              <a:gdLst>
                <a:gd name="connsiteX0" fmla="*/ 308705 w 3181350"/>
                <a:gd name="connsiteY0" fmla="*/ 2488883 h 4000500"/>
                <a:gd name="connsiteX1" fmla="*/ 308229 w 3181350"/>
                <a:gd name="connsiteY1" fmla="*/ 2488883 h 4000500"/>
                <a:gd name="connsiteX2" fmla="*/ 308229 w 3181350"/>
                <a:gd name="connsiteY2" fmla="*/ 1966627 h 4000500"/>
                <a:gd name="connsiteX3" fmla="*/ 1488186 w 3181350"/>
                <a:gd name="connsiteY3" fmla="*/ 2207419 h 4000500"/>
                <a:gd name="connsiteX4" fmla="*/ 1584198 w 3181350"/>
                <a:gd name="connsiteY4" fmla="*/ 1901190 h 4000500"/>
                <a:gd name="connsiteX5" fmla="*/ 308705 w 3181350"/>
                <a:gd name="connsiteY5" fmla="*/ 1565053 h 4000500"/>
                <a:gd name="connsiteX6" fmla="*/ 308229 w 3181350"/>
                <a:gd name="connsiteY6" fmla="*/ 1565053 h 4000500"/>
                <a:gd name="connsiteX7" fmla="*/ 308229 w 3181350"/>
                <a:gd name="connsiteY7" fmla="*/ 1050703 h 4000500"/>
                <a:gd name="connsiteX8" fmla="*/ 1592199 w 3181350"/>
                <a:gd name="connsiteY8" fmla="*/ 1293781 h 4000500"/>
                <a:gd name="connsiteX9" fmla="*/ 1775746 w 3181350"/>
                <a:gd name="connsiteY9" fmla="*/ 1289971 h 4000500"/>
                <a:gd name="connsiteX10" fmla="*/ 1874044 w 3181350"/>
                <a:gd name="connsiteY10" fmla="*/ 976027 h 4000500"/>
                <a:gd name="connsiteX11" fmla="*/ 1592104 w 3181350"/>
                <a:gd name="connsiteY11" fmla="*/ 985552 h 4000500"/>
                <a:gd name="connsiteX12" fmla="*/ 308134 w 3181350"/>
                <a:gd name="connsiteY12" fmla="*/ 652748 h 4000500"/>
                <a:gd name="connsiteX13" fmla="*/ 306610 w 3181350"/>
                <a:gd name="connsiteY13" fmla="*/ 647033 h 4000500"/>
                <a:gd name="connsiteX14" fmla="*/ 308134 w 3181350"/>
                <a:gd name="connsiteY14" fmla="*/ 641318 h 4000500"/>
                <a:gd name="connsiteX15" fmla="*/ 1592104 w 3181350"/>
                <a:gd name="connsiteY15" fmla="*/ 308515 h 4000500"/>
                <a:gd name="connsiteX16" fmla="*/ 2873026 w 3181350"/>
                <a:gd name="connsiteY16" fmla="*/ 631127 h 4000500"/>
                <a:gd name="connsiteX17" fmla="*/ 2877217 w 3181350"/>
                <a:gd name="connsiteY17" fmla="*/ 647129 h 4000500"/>
                <a:gd name="connsiteX18" fmla="*/ 2877217 w 3181350"/>
                <a:gd name="connsiteY18" fmla="*/ 2467928 h 4000500"/>
                <a:gd name="connsiteX19" fmla="*/ 3181350 w 3181350"/>
                <a:gd name="connsiteY19" fmla="*/ 2555367 h 4000500"/>
                <a:gd name="connsiteX20" fmla="*/ 3181350 w 3181350"/>
                <a:gd name="connsiteY20" fmla="*/ 611029 h 4000500"/>
                <a:gd name="connsiteX21" fmla="*/ 2873121 w 3181350"/>
                <a:gd name="connsiteY21" fmla="*/ 241744 h 4000500"/>
                <a:gd name="connsiteX22" fmla="*/ 1592199 w 3181350"/>
                <a:gd name="connsiteY22" fmla="*/ 0 h 4000500"/>
                <a:gd name="connsiteX23" fmla="*/ 308229 w 3181350"/>
                <a:gd name="connsiteY23" fmla="*/ 243078 h 4000500"/>
                <a:gd name="connsiteX24" fmla="*/ 0 w 3181350"/>
                <a:gd name="connsiteY24" fmla="*/ 633984 h 4000500"/>
                <a:gd name="connsiteX25" fmla="*/ 0 w 3181350"/>
                <a:gd name="connsiteY25" fmla="*/ 659606 h 4000500"/>
                <a:gd name="connsiteX26" fmla="*/ 0 w 3181350"/>
                <a:gd name="connsiteY26" fmla="*/ 3410617 h 4000500"/>
                <a:gd name="connsiteX27" fmla="*/ 0 w 3181350"/>
                <a:gd name="connsiteY27" fmla="*/ 3427095 h 4000500"/>
                <a:gd name="connsiteX28" fmla="*/ 308229 w 3181350"/>
                <a:gd name="connsiteY28" fmla="*/ 3813810 h 4000500"/>
                <a:gd name="connsiteX29" fmla="*/ 925735 w 3181350"/>
                <a:gd name="connsiteY29" fmla="*/ 4002500 h 4000500"/>
                <a:gd name="connsiteX30" fmla="*/ 1018794 w 3181350"/>
                <a:gd name="connsiteY30" fmla="*/ 3705511 h 4000500"/>
                <a:gd name="connsiteX31" fmla="*/ 308420 w 3181350"/>
                <a:gd name="connsiteY31" fmla="*/ 3418046 h 4000500"/>
                <a:gd name="connsiteX32" fmla="*/ 308420 w 3181350"/>
                <a:gd name="connsiteY32" fmla="*/ 2890552 h 4000500"/>
                <a:gd name="connsiteX33" fmla="*/ 1203770 w 3181350"/>
                <a:gd name="connsiteY33" fmla="*/ 3115437 h 4000500"/>
                <a:gd name="connsiteX34" fmla="*/ 1297972 w 3181350"/>
                <a:gd name="connsiteY34" fmla="*/ 2814828 h 4000500"/>
                <a:gd name="connsiteX35" fmla="*/ 308705 w 3181350"/>
                <a:gd name="connsiteY35" fmla="*/ 2488883 h 400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81350" h="4000500">
                  <a:moveTo>
                    <a:pt x="308705" y="2488883"/>
                  </a:moveTo>
                  <a:lnTo>
                    <a:pt x="308229" y="2488883"/>
                  </a:lnTo>
                  <a:lnTo>
                    <a:pt x="308229" y="1966627"/>
                  </a:lnTo>
                  <a:cubicBezTo>
                    <a:pt x="595408" y="2119694"/>
                    <a:pt x="1044512" y="2196941"/>
                    <a:pt x="1488186" y="2207419"/>
                  </a:cubicBezTo>
                  <a:lnTo>
                    <a:pt x="1584198" y="1901190"/>
                  </a:lnTo>
                  <a:cubicBezTo>
                    <a:pt x="755713" y="1899666"/>
                    <a:pt x="308705" y="1662303"/>
                    <a:pt x="308705" y="1565053"/>
                  </a:cubicBezTo>
                  <a:lnTo>
                    <a:pt x="308229" y="1565053"/>
                  </a:lnTo>
                  <a:lnTo>
                    <a:pt x="308229" y="1050703"/>
                  </a:lnTo>
                  <a:cubicBezTo>
                    <a:pt x="618363" y="1215771"/>
                    <a:pt x="1116330" y="1293781"/>
                    <a:pt x="1592199" y="1293781"/>
                  </a:cubicBezTo>
                  <a:cubicBezTo>
                    <a:pt x="1653254" y="1293781"/>
                    <a:pt x="1714595" y="1292352"/>
                    <a:pt x="1775746" y="1289971"/>
                  </a:cubicBezTo>
                  <a:lnTo>
                    <a:pt x="1874044" y="976027"/>
                  </a:lnTo>
                  <a:cubicBezTo>
                    <a:pt x="1785557" y="982218"/>
                    <a:pt x="1691545" y="985552"/>
                    <a:pt x="1592104" y="985552"/>
                  </a:cubicBezTo>
                  <a:cubicBezTo>
                    <a:pt x="772097" y="985552"/>
                    <a:pt x="323850" y="754190"/>
                    <a:pt x="308134" y="652748"/>
                  </a:cubicBezTo>
                  <a:cubicBezTo>
                    <a:pt x="307848" y="650938"/>
                    <a:pt x="306610" y="648938"/>
                    <a:pt x="306610" y="647033"/>
                  </a:cubicBezTo>
                  <a:cubicBezTo>
                    <a:pt x="306610" y="645128"/>
                    <a:pt x="307848" y="643223"/>
                    <a:pt x="308134" y="641318"/>
                  </a:cubicBezTo>
                  <a:cubicBezTo>
                    <a:pt x="324041" y="539877"/>
                    <a:pt x="772097" y="308515"/>
                    <a:pt x="1592104" y="308515"/>
                  </a:cubicBezTo>
                  <a:cubicBezTo>
                    <a:pt x="2384965" y="308515"/>
                    <a:pt x="2830163" y="525113"/>
                    <a:pt x="2873026" y="631127"/>
                  </a:cubicBezTo>
                  <a:cubicBezTo>
                    <a:pt x="2875312" y="636651"/>
                    <a:pt x="2877217" y="642080"/>
                    <a:pt x="2877217" y="647129"/>
                  </a:cubicBezTo>
                  <a:lnTo>
                    <a:pt x="2877217" y="2467928"/>
                  </a:lnTo>
                  <a:cubicBezTo>
                    <a:pt x="2983421" y="2486882"/>
                    <a:pt x="3083719" y="2516029"/>
                    <a:pt x="3181350" y="2555367"/>
                  </a:cubicBezTo>
                  <a:lnTo>
                    <a:pt x="3181350" y="611029"/>
                  </a:lnTo>
                  <a:cubicBezTo>
                    <a:pt x="3165348" y="458629"/>
                    <a:pt x="3050667" y="335756"/>
                    <a:pt x="2873121" y="241744"/>
                  </a:cubicBezTo>
                  <a:cubicBezTo>
                    <a:pt x="2562797" y="77724"/>
                    <a:pt x="2066830" y="0"/>
                    <a:pt x="1592199" y="0"/>
                  </a:cubicBezTo>
                  <a:cubicBezTo>
                    <a:pt x="1116425" y="0"/>
                    <a:pt x="618363" y="78010"/>
                    <a:pt x="308229" y="243078"/>
                  </a:cubicBezTo>
                  <a:cubicBezTo>
                    <a:pt x="123158" y="341567"/>
                    <a:pt x="6001" y="471202"/>
                    <a:pt x="0" y="633984"/>
                  </a:cubicBezTo>
                  <a:lnTo>
                    <a:pt x="0" y="659606"/>
                  </a:lnTo>
                  <a:lnTo>
                    <a:pt x="0" y="3410617"/>
                  </a:lnTo>
                  <a:lnTo>
                    <a:pt x="0" y="3427095"/>
                  </a:lnTo>
                  <a:cubicBezTo>
                    <a:pt x="7906" y="3587877"/>
                    <a:pt x="124587" y="3716274"/>
                    <a:pt x="308229" y="3813810"/>
                  </a:cubicBezTo>
                  <a:cubicBezTo>
                    <a:pt x="471964" y="3900583"/>
                    <a:pt x="688372" y="3962686"/>
                    <a:pt x="925735" y="4002500"/>
                  </a:cubicBezTo>
                  <a:lnTo>
                    <a:pt x="1018794" y="3705511"/>
                  </a:lnTo>
                  <a:cubicBezTo>
                    <a:pt x="568452" y="3634645"/>
                    <a:pt x="323374" y="3492532"/>
                    <a:pt x="308420" y="3418046"/>
                  </a:cubicBezTo>
                  <a:lnTo>
                    <a:pt x="308420" y="2890552"/>
                  </a:lnTo>
                  <a:cubicBezTo>
                    <a:pt x="533876" y="3010662"/>
                    <a:pt x="859631" y="3084195"/>
                    <a:pt x="1203770" y="3115437"/>
                  </a:cubicBezTo>
                  <a:lnTo>
                    <a:pt x="1297972" y="2814828"/>
                  </a:lnTo>
                  <a:cubicBezTo>
                    <a:pt x="653225" y="2767679"/>
                    <a:pt x="308705" y="2574417"/>
                    <a:pt x="308705" y="24888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7" name="Grafik 140">
            <a:extLst>
              <a:ext uri="{FF2B5EF4-FFF2-40B4-BE49-F238E27FC236}">
                <a16:creationId xmlns:a16="http://schemas.microsoft.com/office/drawing/2014/main" id="{223220D7-0510-D68E-1088-76E1B82CE82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41372" y="2735593"/>
            <a:ext cx="395942" cy="540000"/>
            <a:chOff x="3910012" y="447675"/>
            <a:chExt cx="4371975" cy="5962650"/>
          </a:xfrm>
          <a:solidFill>
            <a:schemeClr val="bg1"/>
          </a:solidFill>
        </p:grpSpPr>
        <p:sp>
          <p:nvSpPr>
            <p:cNvPr id="88" name="Freihandform: Form 227">
              <a:extLst>
                <a:ext uri="{FF2B5EF4-FFF2-40B4-BE49-F238E27FC236}">
                  <a16:creationId xmlns:a16="http://schemas.microsoft.com/office/drawing/2014/main" id="{0A6E035A-8CDE-E78A-3142-AA8E87CA942F}"/>
                </a:ext>
              </a:extLst>
            </p:cNvPr>
            <p:cNvSpPr/>
            <p:nvPr/>
          </p:nvSpPr>
          <p:spPr bwMode="gray">
            <a:xfrm>
              <a:off x="5435441" y="3565017"/>
              <a:ext cx="2838450" cy="2838450"/>
            </a:xfrm>
            <a:custGeom>
              <a:avLst/>
              <a:gdLst>
                <a:gd name="connsiteX0" fmla="*/ 1418463 w 2838450"/>
                <a:gd name="connsiteY0" fmla="*/ 0 h 2838450"/>
                <a:gd name="connsiteX1" fmla="*/ 0 w 2838450"/>
                <a:gd name="connsiteY1" fmla="*/ 1425321 h 2838450"/>
                <a:gd name="connsiteX2" fmla="*/ 1425321 w 2838450"/>
                <a:gd name="connsiteY2" fmla="*/ 2843784 h 2838450"/>
                <a:gd name="connsiteX3" fmla="*/ 2843784 w 2838450"/>
                <a:gd name="connsiteY3" fmla="*/ 1425321 h 2838450"/>
                <a:gd name="connsiteX4" fmla="*/ 1418463 w 2838450"/>
                <a:gd name="connsiteY4" fmla="*/ 0 h 2838450"/>
                <a:gd name="connsiteX5" fmla="*/ 2215325 w 2838450"/>
                <a:gd name="connsiteY5" fmla="*/ 1626394 h 2838450"/>
                <a:gd name="connsiteX6" fmla="*/ 1624584 w 2838450"/>
                <a:gd name="connsiteY6" fmla="*/ 1626394 h 2838450"/>
                <a:gd name="connsiteX7" fmla="*/ 1624584 w 2838450"/>
                <a:gd name="connsiteY7" fmla="*/ 2213610 h 2838450"/>
                <a:gd name="connsiteX8" fmla="*/ 1219295 w 2838450"/>
                <a:gd name="connsiteY8" fmla="*/ 2213610 h 2838450"/>
                <a:gd name="connsiteX9" fmla="*/ 1219295 w 2838450"/>
                <a:gd name="connsiteY9" fmla="*/ 1626394 h 2838450"/>
                <a:gd name="connsiteX10" fmla="*/ 628555 w 2838450"/>
                <a:gd name="connsiteY10" fmla="*/ 1626394 h 2838450"/>
                <a:gd name="connsiteX11" fmla="*/ 628555 w 2838450"/>
                <a:gd name="connsiteY11" fmla="*/ 1221105 h 2838450"/>
                <a:gd name="connsiteX12" fmla="*/ 1219295 w 2838450"/>
                <a:gd name="connsiteY12" fmla="*/ 1221105 h 2838450"/>
                <a:gd name="connsiteX13" fmla="*/ 1219295 w 2838450"/>
                <a:gd name="connsiteY13" fmla="*/ 630364 h 2838450"/>
                <a:gd name="connsiteX14" fmla="*/ 1624584 w 2838450"/>
                <a:gd name="connsiteY14" fmla="*/ 630364 h 2838450"/>
                <a:gd name="connsiteX15" fmla="*/ 1624584 w 2838450"/>
                <a:gd name="connsiteY15" fmla="*/ 1221105 h 2838450"/>
                <a:gd name="connsiteX16" fmla="*/ 2215325 w 2838450"/>
                <a:gd name="connsiteY16" fmla="*/ 1221105 h 2838450"/>
                <a:gd name="connsiteX17" fmla="*/ 2215325 w 2838450"/>
                <a:gd name="connsiteY17" fmla="*/ 1626394 h 283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38450" h="2838450">
                  <a:moveTo>
                    <a:pt x="1418463" y="0"/>
                  </a:moveTo>
                  <a:cubicBezTo>
                    <a:pt x="628555" y="0"/>
                    <a:pt x="0" y="656939"/>
                    <a:pt x="0" y="1425321"/>
                  </a:cubicBezTo>
                  <a:cubicBezTo>
                    <a:pt x="0" y="2180082"/>
                    <a:pt x="614839" y="2843784"/>
                    <a:pt x="1425321" y="2843784"/>
                  </a:cubicBezTo>
                  <a:cubicBezTo>
                    <a:pt x="2215039" y="2843784"/>
                    <a:pt x="2843784" y="2214848"/>
                    <a:pt x="2843784" y="1425321"/>
                  </a:cubicBezTo>
                  <a:cubicBezTo>
                    <a:pt x="2843784" y="656939"/>
                    <a:pt x="2235899" y="0"/>
                    <a:pt x="1418463" y="0"/>
                  </a:cubicBezTo>
                  <a:close/>
                  <a:moveTo>
                    <a:pt x="2215325" y="1626394"/>
                  </a:moveTo>
                  <a:lnTo>
                    <a:pt x="1624584" y="1626394"/>
                  </a:lnTo>
                  <a:lnTo>
                    <a:pt x="1624584" y="2213610"/>
                  </a:lnTo>
                  <a:lnTo>
                    <a:pt x="1219295" y="2213610"/>
                  </a:lnTo>
                  <a:lnTo>
                    <a:pt x="1219295" y="1626394"/>
                  </a:lnTo>
                  <a:lnTo>
                    <a:pt x="628555" y="1626394"/>
                  </a:lnTo>
                  <a:lnTo>
                    <a:pt x="628555" y="1221105"/>
                  </a:lnTo>
                  <a:lnTo>
                    <a:pt x="1219295" y="1221105"/>
                  </a:lnTo>
                  <a:lnTo>
                    <a:pt x="1219295" y="630364"/>
                  </a:lnTo>
                  <a:lnTo>
                    <a:pt x="1624584" y="630364"/>
                  </a:lnTo>
                  <a:lnTo>
                    <a:pt x="1624584" y="1221105"/>
                  </a:lnTo>
                  <a:lnTo>
                    <a:pt x="2215325" y="1221105"/>
                  </a:lnTo>
                  <a:lnTo>
                    <a:pt x="2215325" y="16263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228">
              <a:extLst>
                <a:ext uri="{FF2B5EF4-FFF2-40B4-BE49-F238E27FC236}">
                  <a16:creationId xmlns:a16="http://schemas.microsoft.com/office/drawing/2014/main" id="{2F7A3324-215B-F881-850A-B049FBCDBA85}"/>
                </a:ext>
              </a:extLst>
            </p:cNvPr>
            <p:cNvSpPr/>
            <p:nvPr/>
          </p:nvSpPr>
          <p:spPr bwMode="gray">
            <a:xfrm>
              <a:off x="3910012" y="447675"/>
              <a:ext cx="3600450" cy="4533900"/>
            </a:xfrm>
            <a:custGeom>
              <a:avLst/>
              <a:gdLst>
                <a:gd name="connsiteX0" fmla="*/ 349949 w 3600450"/>
                <a:gd name="connsiteY0" fmla="*/ 2821115 h 4533900"/>
                <a:gd name="connsiteX1" fmla="*/ 349377 w 3600450"/>
                <a:gd name="connsiteY1" fmla="*/ 2821115 h 4533900"/>
                <a:gd name="connsiteX2" fmla="*/ 349377 w 3600450"/>
                <a:gd name="connsiteY2" fmla="*/ 2229231 h 4533900"/>
                <a:gd name="connsiteX3" fmla="*/ 1686782 w 3600450"/>
                <a:gd name="connsiteY3" fmla="*/ 2502122 h 4533900"/>
                <a:gd name="connsiteX4" fmla="*/ 1795653 w 3600450"/>
                <a:gd name="connsiteY4" fmla="*/ 2154936 h 4533900"/>
                <a:gd name="connsiteX5" fmla="*/ 349949 w 3600450"/>
                <a:gd name="connsiteY5" fmla="*/ 1773936 h 4533900"/>
                <a:gd name="connsiteX6" fmla="*/ 349377 w 3600450"/>
                <a:gd name="connsiteY6" fmla="*/ 1773936 h 4533900"/>
                <a:gd name="connsiteX7" fmla="*/ 349377 w 3600450"/>
                <a:gd name="connsiteY7" fmla="*/ 1190911 h 4533900"/>
                <a:gd name="connsiteX8" fmla="*/ 1804702 w 3600450"/>
                <a:gd name="connsiteY8" fmla="*/ 1466469 h 4533900"/>
                <a:gd name="connsiteX9" fmla="*/ 2012823 w 3600450"/>
                <a:gd name="connsiteY9" fmla="*/ 1462088 h 4533900"/>
                <a:gd name="connsiteX10" fmla="*/ 2124266 w 3600450"/>
                <a:gd name="connsiteY10" fmla="*/ 1106234 h 4533900"/>
                <a:gd name="connsiteX11" fmla="*/ 1804702 w 3600450"/>
                <a:gd name="connsiteY11" fmla="*/ 1117092 h 4533900"/>
                <a:gd name="connsiteX12" fmla="*/ 349377 w 3600450"/>
                <a:gd name="connsiteY12" fmla="*/ 739902 h 4533900"/>
                <a:gd name="connsiteX13" fmla="*/ 347663 w 3600450"/>
                <a:gd name="connsiteY13" fmla="*/ 733425 h 4533900"/>
                <a:gd name="connsiteX14" fmla="*/ 349377 w 3600450"/>
                <a:gd name="connsiteY14" fmla="*/ 726948 h 4533900"/>
                <a:gd name="connsiteX15" fmla="*/ 1804702 w 3600450"/>
                <a:gd name="connsiteY15" fmla="*/ 349758 h 4533900"/>
                <a:gd name="connsiteX16" fmla="*/ 3256598 w 3600450"/>
                <a:gd name="connsiteY16" fmla="*/ 715423 h 4533900"/>
                <a:gd name="connsiteX17" fmla="*/ 3261360 w 3600450"/>
                <a:gd name="connsiteY17" fmla="*/ 733615 h 4533900"/>
                <a:gd name="connsiteX18" fmla="*/ 3261360 w 3600450"/>
                <a:gd name="connsiteY18" fmla="*/ 2797493 h 4533900"/>
                <a:gd name="connsiteX19" fmla="*/ 3606070 w 3600450"/>
                <a:gd name="connsiteY19" fmla="*/ 2896553 h 4533900"/>
                <a:gd name="connsiteX20" fmla="*/ 3606070 w 3600450"/>
                <a:gd name="connsiteY20" fmla="*/ 692563 h 4533900"/>
                <a:gd name="connsiteX21" fmla="*/ 3256693 w 3600450"/>
                <a:gd name="connsiteY21" fmla="*/ 273939 h 4533900"/>
                <a:gd name="connsiteX22" fmla="*/ 1804797 w 3600450"/>
                <a:gd name="connsiteY22" fmla="*/ 0 h 4533900"/>
                <a:gd name="connsiteX23" fmla="*/ 349377 w 3600450"/>
                <a:gd name="connsiteY23" fmla="*/ 275558 h 4533900"/>
                <a:gd name="connsiteX24" fmla="*/ 0 w 3600450"/>
                <a:gd name="connsiteY24" fmla="*/ 718566 h 4533900"/>
                <a:gd name="connsiteX25" fmla="*/ 0 w 3600450"/>
                <a:gd name="connsiteY25" fmla="*/ 747522 h 4533900"/>
                <a:gd name="connsiteX26" fmla="*/ 0 w 3600450"/>
                <a:gd name="connsiteY26" fmla="*/ 3865816 h 4533900"/>
                <a:gd name="connsiteX27" fmla="*/ 0 w 3600450"/>
                <a:gd name="connsiteY27" fmla="*/ 3884486 h 4533900"/>
                <a:gd name="connsiteX28" fmla="*/ 349377 w 3600450"/>
                <a:gd name="connsiteY28" fmla="*/ 4322826 h 4533900"/>
                <a:gd name="connsiteX29" fmla="*/ 1049274 w 3600450"/>
                <a:gd name="connsiteY29" fmla="*/ 4536663 h 4533900"/>
                <a:gd name="connsiteX30" fmla="*/ 1154811 w 3600450"/>
                <a:gd name="connsiteY30" fmla="*/ 4199954 h 4533900"/>
                <a:gd name="connsiteX31" fmla="*/ 349568 w 3600450"/>
                <a:gd name="connsiteY31" fmla="*/ 3874103 h 4533900"/>
                <a:gd name="connsiteX32" fmla="*/ 349568 w 3600450"/>
                <a:gd name="connsiteY32" fmla="*/ 3276219 h 4533900"/>
                <a:gd name="connsiteX33" fmla="*/ 1364456 w 3600450"/>
                <a:gd name="connsiteY33" fmla="*/ 3531108 h 4533900"/>
                <a:gd name="connsiteX34" fmla="*/ 1471232 w 3600450"/>
                <a:gd name="connsiteY34" fmla="*/ 3190399 h 4533900"/>
                <a:gd name="connsiteX35" fmla="*/ 349949 w 3600450"/>
                <a:gd name="connsiteY35" fmla="*/ 2821115 h 453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00450" h="4533900">
                  <a:moveTo>
                    <a:pt x="349949" y="2821115"/>
                  </a:moveTo>
                  <a:lnTo>
                    <a:pt x="349377" y="2821115"/>
                  </a:lnTo>
                  <a:lnTo>
                    <a:pt x="349377" y="2229231"/>
                  </a:lnTo>
                  <a:cubicBezTo>
                    <a:pt x="674846" y="2402681"/>
                    <a:pt x="1183958" y="2490216"/>
                    <a:pt x="1686782" y="2502122"/>
                  </a:cubicBezTo>
                  <a:lnTo>
                    <a:pt x="1795653" y="2154936"/>
                  </a:lnTo>
                  <a:cubicBezTo>
                    <a:pt x="856583" y="2153222"/>
                    <a:pt x="349949" y="1884140"/>
                    <a:pt x="349949" y="1773936"/>
                  </a:cubicBezTo>
                  <a:lnTo>
                    <a:pt x="349377" y="1773936"/>
                  </a:lnTo>
                  <a:lnTo>
                    <a:pt x="349377" y="1190911"/>
                  </a:lnTo>
                  <a:cubicBezTo>
                    <a:pt x="700850" y="1377982"/>
                    <a:pt x="1265396" y="1466469"/>
                    <a:pt x="1804702" y="1466469"/>
                  </a:cubicBezTo>
                  <a:cubicBezTo>
                    <a:pt x="1873853" y="1466469"/>
                    <a:pt x="1943386" y="1464850"/>
                    <a:pt x="2012823" y="1462088"/>
                  </a:cubicBezTo>
                  <a:lnTo>
                    <a:pt x="2124266" y="1106234"/>
                  </a:lnTo>
                  <a:cubicBezTo>
                    <a:pt x="2023967" y="1113187"/>
                    <a:pt x="1917383" y="1117092"/>
                    <a:pt x="1804702" y="1117092"/>
                  </a:cubicBezTo>
                  <a:cubicBezTo>
                    <a:pt x="875252" y="1117092"/>
                    <a:pt x="367189" y="854869"/>
                    <a:pt x="349377" y="739902"/>
                  </a:cubicBezTo>
                  <a:cubicBezTo>
                    <a:pt x="348996" y="737807"/>
                    <a:pt x="347663" y="735521"/>
                    <a:pt x="347663" y="733425"/>
                  </a:cubicBezTo>
                  <a:cubicBezTo>
                    <a:pt x="347663" y="731330"/>
                    <a:pt x="349091" y="729044"/>
                    <a:pt x="349377" y="726948"/>
                  </a:cubicBezTo>
                  <a:cubicBezTo>
                    <a:pt x="367379" y="611981"/>
                    <a:pt x="875252" y="349758"/>
                    <a:pt x="1804702" y="349758"/>
                  </a:cubicBezTo>
                  <a:cubicBezTo>
                    <a:pt x="2703386" y="349758"/>
                    <a:pt x="3208020" y="595217"/>
                    <a:pt x="3256598" y="715423"/>
                  </a:cubicBezTo>
                  <a:cubicBezTo>
                    <a:pt x="3259265" y="721709"/>
                    <a:pt x="3261360" y="727805"/>
                    <a:pt x="3261360" y="733615"/>
                  </a:cubicBezTo>
                  <a:lnTo>
                    <a:pt x="3261360" y="2797493"/>
                  </a:lnTo>
                  <a:cubicBezTo>
                    <a:pt x="3381756" y="2819019"/>
                    <a:pt x="3495294" y="2851976"/>
                    <a:pt x="3606070" y="2896553"/>
                  </a:cubicBezTo>
                  <a:lnTo>
                    <a:pt x="3606070" y="692563"/>
                  </a:lnTo>
                  <a:cubicBezTo>
                    <a:pt x="3587877" y="519779"/>
                    <a:pt x="3457956" y="380524"/>
                    <a:pt x="3256693" y="273939"/>
                  </a:cubicBezTo>
                  <a:cubicBezTo>
                    <a:pt x="2904935" y="88011"/>
                    <a:pt x="2342674" y="0"/>
                    <a:pt x="1804797" y="0"/>
                  </a:cubicBezTo>
                  <a:cubicBezTo>
                    <a:pt x="1265396" y="0"/>
                    <a:pt x="700945" y="88392"/>
                    <a:pt x="349377" y="275558"/>
                  </a:cubicBezTo>
                  <a:cubicBezTo>
                    <a:pt x="139637" y="387191"/>
                    <a:pt x="6858" y="534067"/>
                    <a:pt x="0" y="718566"/>
                  </a:cubicBezTo>
                  <a:lnTo>
                    <a:pt x="0" y="747522"/>
                  </a:lnTo>
                  <a:lnTo>
                    <a:pt x="0" y="3865816"/>
                  </a:lnTo>
                  <a:lnTo>
                    <a:pt x="0" y="3884486"/>
                  </a:lnTo>
                  <a:cubicBezTo>
                    <a:pt x="8954" y="4066699"/>
                    <a:pt x="141161" y="4212241"/>
                    <a:pt x="349377" y="4322826"/>
                  </a:cubicBezTo>
                  <a:cubicBezTo>
                    <a:pt x="534924" y="4421220"/>
                    <a:pt x="780193" y="4491609"/>
                    <a:pt x="1049274" y="4536663"/>
                  </a:cubicBezTo>
                  <a:lnTo>
                    <a:pt x="1154811" y="4199954"/>
                  </a:lnTo>
                  <a:cubicBezTo>
                    <a:pt x="644271" y="4119563"/>
                    <a:pt x="366522" y="3958495"/>
                    <a:pt x="349568" y="3874103"/>
                  </a:cubicBezTo>
                  <a:lnTo>
                    <a:pt x="349568" y="3276219"/>
                  </a:lnTo>
                  <a:cubicBezTo>
                    <a:pt x="605123" y="3412331"/>
                    <a:pt x="974312" y="3495675"/>
                    <a:pt x="1364456" y="3531108"/>
                  </a:cubicBezTo>
                  <a:lnTo>
                    <a:pt x="1471232" y="3190399"/>
                  </a:lnTo>
                  <a:cubicBezTo>
                    <a:pt x="740283" y="3137345"/>
                    <a:pt x="349949" y="2918079"/>
                    <a:pt x="349949" y="2821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6" name="Grafik 32">
            <a:extLst>
              <a:ext uri="{FF2B5EF4-FFF2-40B4-BE49-F238E27FC236}">
                <a16:creationId xmlns:a16="http://schemas.microsoft.com/office/drawing/2014/main" id="{2367AFC2-A09D-27A7-4545-FEC8C9C004B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31237" y="2805829"/>
            <a:ext cx="685188" cy="424164"/>
            <a:chOff x="1495425" y="581025"/>
            <a:chExt cx="9201150" cy="5695950"/>
          </a:xfrm>
          <a:solidFill>
            <a:schemeClr val="bg1"/>
          </a:solidFill>
        </p:grpSpPr>
        <p:sp>
          <p:nvSpPr>
            <p:cNvPr id="97" name="Freihandform: Form 34">
              <a:extLst>
                <a:ext uri="{FF2B5EF4-FFF2-40B4-BE49-F238E27FC236}">
                  <a16:creationId xmlns:a16="http://schemas.microsoft.com/office/drawing/2014/main" id="{43AB1A66-F364-4014-FBB2-367B795E5F58}"/>
                </a:ext>
              </a:extLst>
            </p:cNvPr>
            <p:cNvSpPr/>
            <p:nvPr/>
          </p:nvSpPr>
          <p:spPr bwMode="gray">
            <a:xfrm>
              <a:off x="5002911" y="581025"/>
              <a:ext cx="5686425" cy="5686425"/>
            </a:xfrm>
            <a:custGeom>
              <a:avLst/>
              <a:gdLst>
                <a:gd name="connsiteX0" fmla="*/ 5233892 w 5686425"/>
                <a:gd name="connsiteY0" fmla="*/ 2023110 h 5686425"/>
                <a:gd name="connsiteX1" fmla="*/ 5112925 w 5686425"/>
                <a:gd name="connsiteY1" fmla="*/ 1904714 h 5686425"/>
                <a:gd name="connsiteX2" fmla="*/ 5113211 w 5686425"/>
                <a:gd name="connsiteY2" fmla="*/ 1723168 h 5686425"/>
                <a:gd name="connsiteX3" fmla="*/ 4859560 w 5686425"/>
                <a:gd name="connsiteY3" fmla="*/ 833819 h 5686425"/>
                <a:gd name="connsiteX4" fmla="*/ 4118515 w 5686425"/>
                <a:gd name="connsiteY4" fmla="*/ 577120 h 5686425"/>
                <a:gd name="connsiteX5" fmla="*/ 3970211 w 5686425"/>
                <a:gd name="connsiteY5" fmla="*/ 580168 h 5686425"/>
                <a:gd name="connsiteX6" fmla="*/ 3854863 w 5686425"/>
                <a:gd name="connsiteY6" fmla="*/ 582740 h 5686425"/>
                <a:gd name="connsiteX7" fmla="*/ 3788093 w 5686425"/>
                <a:gd name="connsiteY7" fmla="*/ 580454 h 5686425"/>
                <a:gd name="connsiteX8" fmla="*/ 3669983 w 5686425"/>
                <a:gd name="connsiteY8" fmla="*/ 459486 h 5686425"/>
                <a:gd name="connsiteX9" fmla="*/ 2846451 w 5686425"/>
                <a:gd name="connsiteY9" fmla="*/ 0 h 5686425"/>
                <a:gd name="connsiteX10" fmla="*/ 2023110 w 5686425"/>
                <a:gd name="connsiteY10" fmla="*/ 459486 h 5686425"/>
                <a:gd name="connsiteX11" fmla="*/ 1905000 w 5686425"/>
                <a:gd name="connsiteY11" fmla="*/ 580454 h 5686425"/>
                <a:gd name="connsiteX12" fmla="*/ 1838230 w 5686425"/>
                <a:gd name="connsiteY12" fmla="*/ 582740 h 5686425"/>
                <a:gd name="connsiteX13" fmla="*/ 1722882 w 5686425"/>
                <a:gd name="connsiteY13" fmla="*/ 580168 h 5686425"/>
                <a:gd name="connsiteX14" fmla="*/ 1574578 w 5686425"/>
                <a:gd name="connsiteY14" fmla="*/ 577120 h 5686425"/>
                <a:gd name="connsiteX15" fmla="*/ 833819 w 5686425"/>
                <a:gd name="connsiteY15" fmla="*/ 833819 h 5686425"/>
                <a:gd name="connsiteX16" fmla="*/ 580168 w 5686425"/>
                <a:gd name="connsiteY16" fmla="*/ 1723168 h 5686425"/>
                <a:gd name="connsiteX17" fmla="*/ 580454 w 5686425"/>
                <a:gd name="connsiteY17" fmla="*/ 1904714 h 5686425"/>
                <a:gd name="connsiteX18" fmla="*/ 459486 w 5686425"/>
                <a:gd name="connsiteY18" fmla="*/ 2023110 h 5686425"/>
                <a:gd name="connsiteX19" fmla="*/ 0 w 5686425"/>
                <a:gd name="connsiteY19" fmla="*/ 2846451 h 5686425"/>
                <a:gd name="connsiteX20" fmla="*/ 459486 w 5686425"/>
                <a:gd name="connsiteY20" fmla="*/ 3670078 h 5686425"/>
                <a:gd name="connsiteX21" fmla="*/ 580454 w 5686425"/>
                <a:gd name="connsiteY21" fmla="*/ 3788474 h 5686425"/>
                <a:gd name="connsiteX22" fmla="*/ 580168 w 5686425"/>
                <a:gd name="connsiteY22" fmla="*/ 3970020 h 5686425"/>
                <a:gd name="connsiteX23" fmla="*/ 833819 w 5686425"/>
                <a:gd name="connsiteY23" fmla="*/ 4859370 h 5686425"/>
                <a:gd name="connsiteX24" fmla="*/ 1574864 w 5686425"/>
                <a:gd name="connsiteY24" fmla="*/ 5116068 h 5686425"/>
                <a:gd name="connsiteX25" fmla="*/ 1723168 w 5686425"/>
                <a:gd name="connsiteY25" fmla="*/ 5113020 h 5686425"/>
                <a:gd name="connsiteX26" fmla="*/ 1838230 w 5686425"/>
                <a:gd name="connsiteY26" fmla="*/ 5110449 h 5686425"/>
                <a:gd name="connsiteX27" fmla="*/ 1905000 w 5686425"/>
                <a:gd name="connsiteY27" fmla="*/ 5112735 h 5686425"/>
                <a:gd name="connsiteX28" fmla="*/ 2023110 w 5686425"/>
                <a:gd name="connsiteY28" fmla="*/ 5233416 h 5686425"/>
                <a:gd name="connsiteX29" fmla="*/ 2846737 w 5686425"/>
                <a:gd name="connsiteY29" fmla="*/ 5692902 h 5686425"/>
                <a:gd name="connsiteX30" fmla="*/ 3670364 w 5686425"/>
                <a:gd name="connsiteY30" fmla="*/ 5233416 h 5686425"/>
                <a:gd name="connsiteX31" fmla="*/ 3788474 w 5686425"/>
                <a:gd name="connsiteY31" fmla="*/ 5112735 h 5686425"/>
                <a:gd name="connsiteX32" fmla="*/ 3855244 w 5686425"/>
                <a:gd name="connsiteY32" fmla="*/ 5110449 h 5686425"/>
                <a:gd name="connsiteX33" fmla="*/ 3970306 w 5686425"/>
                <a:gd name="connsiteY33" fmla="*/ 5113020 h 5686425"/>
                <a:gd name="connsiteX34" fmla="*/ 4118896 w 5686425"/>
                <a:gd name="connsiteY34" fmla="*/ 5116068 h 5686425"/>
                <a:gd name="connsiteX35" fmla="*/ 4859655 w 5686425"/>
                <a:gd name="connsiteY35" fmla="*/ 4859370 h 5686425"/>
                <a:gd name="connsiteX36" fmla="*/ 5113306 w 5686425"/>
                <a:gd name="connsiteY36" fmla="*/ 3970020 h 5686425"/>
                <a:gd name="connsiteX37" fmla="*/ 5113020 w 5686425"/>
                <a:gd name="connsiteY37" fmla="*/ 3788474 h 5686425"/>
                <a:gd name="connsiteX38" fmla="*/ 5233988 w 5686425"/>
                <a:gd name="connsiteY38" fmla="*/ 3670078 h 5686425"/>
                <a:gd name="connsiteX39" fmla="*/ 5693474 w 5686425"/>
                <a:gd name="connsiteY39" fmla="*/ 2846451 h 5686425"/>
                <a:gd name="connsiteX40" fmla="*/ 5233892 w 5686425"/>
                <a:gd name="connsiteY40" fmla="*/ 2023110 h 5686425"/>
                <a:gd name="connsiteX41" fmla="*/ 4621244 w 5686425"/>
                <a:gd name="connsiteY41" fmla="*/ 3581114 h 5686425"/>
                <a:gd name="connsiteX42" fmla="*/ 4485513 w 5686425"/>
                <a:gd name="connsiteY42" fmla="*/ 4484751 h 5686425"/>
                <a:gd name="connsiteX43" fmla="*/ 4119086 w 5686425"/>
                <a:gd name="connsiteY43" fmla="*/ 4586288 h 5686425"/>
                <a:gd name="connsiteX44" fmla="*/ 3855435 w 5686425"/>
                <a:gd name="connsiteY44" fmla="*/ 4580668 h 5686425"/>
                <a:gd name="connsiteX45" fmla="*/ 3581876 w 5686425"/>
                <a:gd name="connsiteY45" fmla="*/ 4620578 h 5686425"/>
                <a:gd name="connsiteX46" fmla="*/ 2847023 w 5686425"/>
                <a:gd name="connsiteY46" fmla="*/ 5163408 h 5686425"/>
                <a:gd name="connsiteX47" fmla="*/ 2112169 w 5686425"/>
                <a:gd name="connsiteY47" fmla="*/ 4620578 h 5686425"/>
                <a:gd name="connsiteX48" fmla="*/ 1838611 w 5686425"/>
                <a:gd name="connsiteY48" fmla="*/ 4580668 h 5686425"/>
                <a:gd name="connsiteX49" fmla="*/ 1575245 w 5686425"/>
                <a:gd name="connsiteY49" fmla="*/ 4586002 h 5686425"/>
                <a:gd name="connsiteX50" fmla="*/ 1208532 w 5686425"/>
                <a:gd name="connsiteY50" fmla="*/ 4484465 h 5686425"/>
                <a:gd name="connsiteX51" fmla="*/ 1072801 w 5686425"/>
                <a:gd name="connsiteY51" fmla="*/ 3580829 h 5686425"/>
                <a:gd name="connsiteX52" fmla="*/ 529971 w 5686425"/>
                <a:gd name="connsiteY52" fmla="*/ 2845975 h 5686425"/>
                <a:gd name="connsiteX53" fmla="*/ 1072801 w 5686425"/>
                <a:gd name="connsiteY53" fmla="*/ 2111121 h 5686425"/>
                <a:gd name="connsiteX54" fmla="*/ 1208532 w 5686425"/>
                <a:gd name="connsiteY54" fmla="*/ 1207770 h 5686425"/>
                <a:gd name="connsiteX55" fmla="*/ 1574959 w 5686425"/>
                <a:gd name="connsiteY55" fmla="*/ 1106234 h 5686425"/>
                <a:gd name="connsiteX56" fmla="*/ 1838611 w 5686425"/>
                <a:gd name="connsiteY56" fmla="*/ 1111853 h 5686425"/>
                <a:gd name="connsiteX57" fmla="*/ 2111978 w 5686425"/>
                <a:gd name="connsiteY57" fmla="*/ 1071944 h 5686425"/>
                <a:gd name="connsiteX58" fmla="*/ 2846832 w 5686425"/>
                <a:gd name="connsiteY58" fmla="*/ 529114 h 5686425"/>
                <a:gd name="connsiteX59" fmla="*/ 3581686 w 5686425"/>
                <a:gd name="connsiteY59" fmla="*/ 1071944 h 5686425"/>
                <a:gd name="connsiteX60" fmla="*/ 3855244 w 5686425"/>
                <a:gd name="connsiteY60" fmla="*/ 1111853 h 5686425"/>
                <a:gd name="connsiteX61" fmla="*/ 4118610 w 5686425"/>
                <a:gd name="connsiteY61" fmla="*/ 1106234 h 5686425"/>
                <a:gd name="connsiteX62" fmla="*/ 4485323 w 5686425"/>
                <a:gd name="connsiteY62" fmla="*/ 1207770 h 5686425"/>
                <a:gd name="connsiteX63" fmla="*/ 4621054 w 5686425"/>
                <a:gd name="connsiteY63" fmla="*/ 2111121 h 5686425"/>
                <a:gd name="connsiteX64" fmla="*/ 5163884 w 5686425"/>
                <a:gd name="connsiteY64" fmla="*/ 2845975 h 5686425"/>
                <a:gd name="connsiteX65" fmla="*/ 4621244 w 5686425"/>
                <a:gd name="connsiteY65" fmla="*/ 3581114 h 568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686425" h="5686425">
                  <a:moveTo>
                    <a:pt x="5233892" y="2023110"/>
                  </a:moveTo>
                  <a:cubicBezTo>
                    <a:pt x="5195507" y="1987296"/>
                    <a:pt x="5140548" y="1936433"/>
                    <a:pt x="5112925" y="1904714"/>
                  </a:cubicBezTo>
                  <a:cubicBezTo>
                    <a:pt x="5109115" y="1860709"/>
                    <a:pt x="5111687" y="1779651"/>
                    <a:pt x="5113211" y="1723168"/>
                  </a:cubicBezTo>
                  <a:cubicBezTo>
                    <a:pt x="5121117" y="1477994"/>
                    <a:pt x="5132642" y="1106900"/>
                    <a:pt x="4859560" y="833819"/>
                  </a:cubicBezTo>
                  <a:cubicBezTo>
                    <a:pt x="4602861" y="577120"/>
                    <a:pt x="4251008" y="577120"/>
                    <a:pt x="4118515" y="577120"/>
                  </a:cubicBezTo>
                  <a:cubicBezTo>
                    <a:pt x="4069938" y="577120"/>
                    <a:pt x="4020026" y="578644"/>
                    <a:pt x="3970211" y="580168"/>
                  </a:cubicBezTo>
                  <a:cubicBezTo>
                    <a:pt x="3931635" y="581406"/>
                    <a:pt x="3892772" y="582740"/>
                    <a:pt x="3854863" y="582740"/>
                  </a:cubicBezTo>
                  <a:cubicBezTo>
                    <a:pt x="3822669" y="582740"/>
                    <a:pt x="3801713" y="581692"/>
                    <a:pt x="3788093" y="580454"/>
                  </a:cubicBezTo>
                  <a:cubicBezTo>
                    <a:pt x="3756374" y="552831"/>
                    <a:pt x="3705511" y="498158"/>
                    <a:pt x="3669983" y="459486"/>
                  </a:cubicBezTo>
                  <a:cubicBezTo>
                    <a:pt x="3499961" y="276701"/>
                    <a:pt x="3243263" y="0"/>
                    <a:pt x="2846451" y="0"/>
                  </a:cubicBezTo>
                  <a:cubicBezTo>
                    <a:pt x="2449640" y="0"/>
                    <a:pt x="2192846" y="276701"/>
                    <a:pt x="2023110" y="459486"/>
                  </a:cubicBezTo>
                  <a:cubicBezTo>
                    <a:pt x="1987296" y="497872"/>
                    <a:pt x="1936718" y="552545"/>
                    <a:pt x="1905000" y="580454"/>
                  </a:cubicBezTo>
                  <a:cubicBezTo>
                    <a:pt x="1891665" y="581501"/>
                    <a:pt x="1870520" y="582740"/>
                    <a:pt x="1838230" y="582740"/>
                  </a:cubicBezTo>
                  <a:cubicBezTo>
                    <a:pt x="1800416" y="582740"/>
                    <a:pt x="1761744" y="581501"/>
                    <a:pt x="1722882" y="580168"/>
                  </a:cubicBezTo>
                  <a:cubicBezTo>
                    <a:pt x="1673067" y="578644"/>
                    <a:pt x="1623156" y="577120"/>
                    <a:pt x="1574578" y="577120"/>
                  </a:cubicBezTo>
                  <a:cubicBezTo>
                    <a:pt x="1442085" y="577120"/>
                    <a:pt x="1090327" y="577120"/>
                    <a:pt x="833819" y="833819"/>
                  </a:cubicBezTo>
                  <a:cubicBezTo>
                    <a:pt x="560737" y="1106900"/>
                    <a:pt x="572453" y="1477709"/>
                    <a:pt x="580168" y="1723168"/>
                  </a:cubicBezTo>
                  <a:cubicBezTo>
                    <a:pt x="581978" y="1779651"/>
                    <a:pt x="584549" y="1860709"/>
                    <a:pt x="580454" y="1904714"/>
                  </a:cubicBezTo>
                  <a:cubicBezTo>
                    <a:pt x="552831" y="1936433"/>
                    <a:pt x="498158" y="1987296"/>
                    <a:pt x="459486" y="2023110"/>
                  </a:cubicBezTo>
                  <a:cubicBezTo>
                    <a:pt x="276701" y="2192941"/>
                    <a:pt x="0" y="2449640"/>
                    <a:pt x="0" y="2846451"/>
                  </a:cubicBezTo>
                  <a:cubicBezTo>
                    <a:pt x="0" y="3243263"/>
                    <a:pt x="276701" y="3500057"/>
                    <a:pt x="459486" y="3670078"/>
                  </a:cubicBezTo>
                  <a:cubicBezTo>
                    <a:pt x="498062" y="3705892"/>
                    <a:pt x="552831" y="3756755"/>
                    <a:pt x="580454" y="3788474"/>
                  </a:cubicBezTo>
                  <a:cubicBezTo>
                    <a:pt x="584549" y="3832479"/>
                    <a:pt x="581692" y="3913537"/>
                    <a:pt x="580168" y="3970020"/>
                  </a:cubicBezTo>
                  <a:cubicBezTo>
                    <a:pt x="572453" y="4215194"/>
                    <a:pt x="560737" y="4586288"/>
                    <a:pt x="833819" y="4859370"/>
                  </a:cubicBezTo>
                  <a:cubicBezTo>
                    <a:pt x="1090518" y="5116068"/>
                    <a:pt x="1442371" y="5116068"/>
                    <a:pt x="1574864" y="5116068"/>
                  </a:cubicBezTo>
                  <a:cubicBezTo>
                    <a:pt x="1623441" y="5116068"/>
                    <a:pt x="1673352" y="5114544"/>
                    <a:pt x="1723168" y="5113020"/>
                  </a:cubicBezTo>
                  <a:cubicBezTo>
                    <a:pt x="1761744" y="5111782"/>
                    <a:pt x="1800416" y="5110449"/>
                    <a:pt x="1838230" y="5110449"/>
                  </a:cubicBezTo>
                  <a:cubicBezTo>
                    <a:pt x="1870424" y="5110449"/>
                    <a:pt x="1891379" y="5111496"/>
                    <a:pt x="1905000" y="5112735"/>
                  </a:cubicBezTo>
                  <a:cubicBezTo>
                    <a:pt x="1936718" y="5140357"/>
                    <a:pt x="1987582" y="5195030"/>
                    <a:pt x="2023110" y="5233416"/>
                  </a:cubicBezTo>
                  <a:cubicBezTo>
                    <a:pt x="2193131" y="5416486"/>
                    <a:pt x="2449830" y="5692902"/>
                    <a:pt x="2846737" y="5692902"/>
                  </a:cubicBezTo>
                  <a:cubicBezTo>
                    <a:pt x="3243644" y="5692902"/>
                    <a:pt x="3500342" y="5416201"/>
                    <a:pt x="3670364" y="5233416"/>
                  </a:cubicBezTo>
                  <a:cubicBezTo>
                    <a:pt x="3705892" y="5195030"/>
                    <a:pt x="3756756" y="5140357"/>
                    <a:pt x="3788474" y="5112735"/>
                  </a:cubicBezTo>
                  <a:cubicBezTo>
                    <a:pt x="3801809" y="5111496"/>
                    <a:pt x="3822954" y="5110449"/>
                    <a:pt x="3855244" y="5110449"/>
                  </a:cubicBezTo>
                  <a:cubicBezTo>
                    <a:pt x="3893058" y="5110449"/>
                    <a:pt x="3931730" y="5111686"/>
                    <a:pt x="3970306" y="5113020"/>
                  </a:cubicBezTo>
                  <a:cubicBezTo>
                    <a:pt x="4020122" y="5114544"/>
                    <a:pt x="4070033" y="5116068"/>
                    <a:pt x="4118896" y="5116068"/>
                  </a:cubicBezTo>
                  <a:cubicBezTo>
                    <a:pt x="4251389" y="5116068"/>
                    <a:pt x="4603147" y="5116068"/>
                    <a:pt x="4859655" y="4859370"/>
                  </a:cubicBezTo>
                  <a:cubicBezTo>
                    <a:pt x="5132737" y="4586288"/>
                    <a:pt x="5121021" y="4215480"/>
                    <a:pt x="5113306" y="3970020"/>
                  </a:cubicBezTo>
                  <a:cubicBezTo>
                    <a:pt x="5111496" y="3913537"/>
                    <a:pt x="5108924" y="3832479"/>
                    <a:pt x="5113020" y="3788474"/>
                  </a:cubicBezTo>
                  <a:cubicBezTo>
                    <a:pt x="5140643" y="3756755"/>
                    <a:pt x="5195602" y="3705892"/>
                    <a:pt x="5233988" y="3670078"/>
                  </a:cubicBezTo>
                  <a:cubicBezTo>
                    <a:pt x="5417059" y="3500057"/>
                    <a:pt x="5693474" y="3243548"/>
                    <a:pt x="5693474" y="2846451"/>
                  </a:cubicBezTo>
                  <a:cubicBezTo>
                    <a:pt x="5693664" y="2449640"/>
                    <a:pt x="5416963" y="2192846"/>
                    <a:pt x="5233892" y="2023110"/>
                  </a:cubicBezTo>
                  <a:close/>
                  <a:moveTo>
                    <a:pt x="4621244" y="3581114"/>
                  </a:moveTo>
                  <a:cubicBezTo>
                    <a:pt x="4513898" y="3840099"/>
                    <a:pt x="4680585" y="4289679"/>
                    <a:pt x="4485513" y="4484751"/>
                  </a:cubicBezTo>
                  <a:cubicBezTo>
                    <a:pt x="4399883" y="4570381"/>
                    <a:pt x="4265105" y="4586288"/>
                    <a:pt x="4119086" y="4586288"/>
                  </a:cubicBezTo>
                  <a:cubicBezTo>
                    <a:pt x="4032695" y="4586288"/>
                    <a:pt x="3942112" y="4580668"/>
                    <a:pt x="3855435" y="4580668"/>
                  </a:cubicBezTo>
                  <a:cubicBezTo>
                    <a:pt x="3754946" y="4580668"/>
                    <a:pt x="3659791" y="4588098"/>
                    <a:pt x="3581876" y="4620578"/>
                  </a:cubicBezTo>
                  <a:cubicBezTo>
                    <a:pt x="3332036" y="4724115"/>
                    <a:pt x="3134392" y="5163408"/>
                    <a:pt x="2847023" y="5163408"/>
                  </a:cubicBezTo>
                  <a:cubicBezTo>
                    <a:pt x="2559653" y="5163408"/>
                    <a:pt x="2361915" y="4724115"/>
                    <a:pt x="2112169" y="4620578"/>
                  </a:cubicBezTo>
                  <a:cubicBezTo>
                    <a:pt x="2034159" y="4588383"/>
                    <a:pt x="1939100" y="4580668"/>
                    <a:pt x="1838611" y="4580668"/>
                  </a:cubicBezTo>
                  <a:cubicBezTo>
                    <a:pt x="1751933" y="4580668"/>
                    <a:pt x="1661636" y="4586002"/>
                    <a:pt x="1575245" y="4586002"/>
                  </a:cubicBezTo>
                  <a:cubicBezTo>
                    <a:pt x="1429226" y="4586002"/>
                    <a:pt x="1294448" y="4570190"/>
                    <a:pt x="1208532" y="4484465"/>
                  </a:cubicBezTo>
                  <a:cubicBezTo>
                    <a:pt x="1013460" y="4289393"/>
                    <a:pt x="1180148" y="3839813"/>
                    <a:pt x="1072801" y="3580829"/>
                  </a:cubicBezTo>
                  <a:cubicBezTo>
                    <a:pt x="969264" y="3330988"/>
                    <a:pt x="529971" y="3133344"/>
                    <a:pt x="529971" y="2845975"/>
                  </a:cubicBezTo>
                  <a:cubicBezTo>
                    <a:pt x="529971" y="2558796"/>
                    <a:pt x="969264" y="2361152"/>
                    <a:pt x="1072801" y="2111121"/>
                  </a:cubicBezTo>
                  <a:cubicBezTo>
                    <a:pt x="1179957" y="1852327"/>
                    <a:pt x="1013460" y="1402556"/>
                    <a:pt x="1208532" y="1207770"/>
                  </a:cubicBezTo>
                  <a:cubicBezTo>
                    <a:pt x="1294162" y="1122140"/>
                    <a:pt x="1428941" y="1106234"/>
                    <a:pt x="1574959" y="1106234"/>
                  </a:cubicBezTo>
                  <a:cubicBezTo>
                    <a:pt x="1661350" y="1106234"/>
                    <a:pt x="1751933" y="1111853"/>
                    <a:pt x="1838611" y="1111853"/>
                  </a:cubicBezTo>
                  <a:cubicBezTo>
                    <a:pt x="1938814" y="1111853"/>
                    <a:pt x="2034254" y="1104424"/>
                    <a:pt x="2111978" y="1071944"/>
                  </a:cubicBezTo>
                  <a:cubicBezTo>
                    <a:pt x="2361819" y="968407"/>
                    <a:pt x="2559463" y="529114"/>
                    <a:pt x="2846832" y="529114"/>
                  </a:cubicBezTo>
                  <a:cubicBezTo>
                    <a:pt x="3134201" y="529114"/>
                    <a:pt x="3331940" y="968121"/>
                    <a:pt x="3581686" y="1071944"/>
                  </a:cubicBezTo>
                  <a:cubicBezTo>
                    <a:pt x="3659696" y="1104138"/>
                    <a:pt x="3754755" y="1111853"/>
                    <a:pt x="3855244" y="1111853"/>
                  </a:cubicBezTo>
                  <a:cubicBezTo>
                    <a:pt x="3941922" y="1111853"/>
                    <a:pt x="4032219" y="1106234"/>
                    <a:pt x="4118610" y="1106234"/>
                  </a:cubicBezTo>
                  <a:cubicBezTo>
                    <a:pt x="4264914" y="1106234"/>
                    <a:pt x="4399598" y="1122045"/>
                    <a:pt x="4485323" y="1207770"/>
                  </a:cubicBezTo>
                  <a:cubicBezTo>
                    <a:pt x="4680395" y="1402842"/>
                    <a:pt x="4513707" y="1852422"/>
                    <a:pt x="4621054" y="2111121"/>
                  </a:cubicBezTo>
                  <a:cubicBezTo>
                    <a:pt x="4724591" y="2360962"/>
                    <a:pt x="5163884" y="2558606"/>
                    <a:pt x="5163884" y="2845975"/>
                  </a:cubicBezTo>
                  <a:cubicBezTo>
                    <a:pt x="5163789" y="3133630"/>
                    <a:pt x="4724496" y="3331559"/>
                    <a:pt x="4621244" y="35811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" name="Freihandform: Form 35">
              <a:extLst>
                <a:ext uri="{FF2B5EF4-FFF2-40B4-BE49-F238E27FC236}">
                  <a16:creationId xmlns:a16="http://schemas.microsoft.com/office/drawing/2014/main" id="{65C6EF17-0086-76B9-C2A6-2E9E9714F884}"/>
                </a:ext>
              </a:extLst>
            </p:cNvPr>
            <p:cNvSpPr/>
            <p:nvPr/>
          </p:nvSpPr>
          <p:spPr bwMode="gray">
            <a:xfrm>
              <a:off x="1495425" y="1307878"/>
              <a:ext cx="3581400" cy="4152900"/>
            </a:xfrm>
            <a:custGeom>
              <a:avLst/>
              <a:gdLst>
                <a:gd name="connsiteX0" fmla="*/ 3576733 w 3581400"/>
                <a:gd name="connsiteY0" fmla="*/ 3235262 h 4152900"/>
                <a:gd name="connsiteX1" fmla="*/ 3578733 w 3581400"/>
                <a:gd name="connsiteY1" fmla="*/ 3168777 h 4152900"/>
                <a:gd name="connsiteX2" fmla="*/ 3537776 w 3581400"/>
                <a:gd name="connsiteY2" fmla="*/ 3130963 h 4152900"/>
                <a:gd name="connsiteX3" fmla="*/ 2996184 w 3581400"/>
                <a:gd name="connsiteY3" fmla="*/ 2119694 h 4152900"/>
                <a:gd name="connsiteX4" fmla="*/ 3537490 w 3581400"/>
                <a:gd name="connsiteY4" fmla="*/ 1108901 h 4152900"/>
                <a:gd name="connsiteX5" fmla="*/ 3578638 w 3581400"/>
                <a:gd name="connsiteY5" fmla="*/ 1070801 h 4152900"/>
                <a:gd name="connsiteX6" fmla="*/ 3576638 w 3581400"/>
                <a:gd name="connsiteY6" fmla="*/ 1007936 h 4152900"/>
                <a:gd name="connsiteX7" fmla="*/ 3583781 w 3581400"/>
                <a:gd name="connsiteY7" fmla="*/ 639509 h 4152900"/>
                <a:gd name="connsiteX8" fmla="*/ 2075879 w 3581400"/>
                <a:gd name="connsiteY8" fmla="*/ 0 h 4152900"/>
                <a:gd name="connsiteX9" fmla="*/ 0 w 3581400"/>
                <a:gd name="connsiteY9" fmla="*/ 2085880 h 4152900"/>
                <a:gd name="connsiteX10" fmla="*/ 2085975 w 3581400"/>
                <a:gd name="connsiteY10" fmla="*/ 4161949 h 4152900"/>
                <a:gd name="connsiteX11" fmla="*/ 3579019 w 3581400"/>
                <a:gd name="connsiteY11" fmla="*/ 3533394 h 4152900"/>
                <a:gd name="connsiteX12" fmla="*/ 3576733 w 3581400"/>
                <a:gd name="connsiteY12" fmla="*/ 3235262 h 4152900"/>
                <a:gd name="connsiteX13" fmla="*/ 2843117 w 3581400"/>
                <a:gd name="connsiteY13" fmla="*/ 1359884 h 4152900"/>
                <a:gd name="connsiteX14" fmla="*/ 2341912 w 3581400"/>
                <a:gd name="connsiteY14" fmla="*/ 1196245 h 4152900"/>
                <a:gd name="connsiteX15" fmla="*/ 1697546 w 3581400"/>
                <a:gd name="connsiteY15" fmla="*/ 1635824 h 4152900"/>
                <a:gd name="connsiteX16" fmla="*/ 2433733 w 3581400"/>
                <a:gd name="connsiteY16" fmla="*/ 1635824 h 4152900"/>
                <a:gd name="connsiteX17" fmla="*/ 2372582 w 3581400"/>
                <a:gd name="connsiteY17" fmla="*/ 1973390 h 4152900"/>
                <a:gd name="connsiteX18" fmla="*/ 1625918 w 3581400"/>
                <a:gd name="connsiteY18" fmla="*/ 1973390 h 4152900"/>
                <a:gd name="connsiteX19" fmla="*/ 1615916 w 3581400"/>
                <a:gd name="connsiteY19" fmla="*/ 2085880 h 4152900"/>
                <a:gd name="connsiteX20" fmla="*/ 1625918 w 3581400"/>
                <a:gd name="connsiteY20" fmla="*/ 2219135 h 4152900"/>
                <a:gd name="connsiteX21" fmla="*/ 2331625 w 3581400"/>
                <a:gd name="connsiteY21" fmla="*/ 2219135 h 4152900"/>
                <a:gd name="connsiteX22" fmla="*/ 2270474 w 3581400"/>
                <a:gd name="connsiteY22" fmla="*/ 2546414 h 4152900"/>
                <a:gd name="connsiteX23" fmla="*/ 1707928 w 3581400"/>
                <a:gd name="connsiteY23" fmla="*/ 2546414 h 4152900"/>
                <a:gd name="connsiteX24" fmla="*/ 2341817 w 3581400"/>
                <a:gd name="connsiteY24" fmla="*/ 2985992 h 4152900"/>
                <a:gd name="connsiteX25" fmla="*/ 2843022 w 3581400"/>
                <a:gd name="connsiteY25" fmla="*/ 2812161 h 4152900"/>
                <a:gd name="connsiteX26" fmla="*/ 2843022 w 3581400"/>
                <a:gd name="connsiteY26" fmla="*/ 3344037 h 4152900"/>
                <a:gd name="connsiteX27" fmla="*/ 2311432 w 3581400"/>
                <a:gd name="connsiteY27" fmla="*/ 3466529 h 4152900"/>
                <a:gd name="connsiteX28" fmla="*/ 1145477 w 3581400"/>
                <a:gd name="connsiteY28" fmla="*/ 2546223 h 4152900"/>
                <a:gd name="connsiteX29" fmla="*/ 879634 w 3581400"/>
                <a:gd name="connsiteY29" fmla="*/ 2546223 h 4152900"/>
                <a:gd name="connsiteX30" fmla="*/ 879634 w 3581400"/>
                <a:gd name="connsiteY30" fmla="*/ 2218944 h 4152900"/>
                <a:gd name="connsiteX31" fmla="*/ 1094423 w 3581400"/>
                <a:gd name="connsiteY31" fmla="*/ 2218944 h 4152900"/>
                <a:gd name="connsiteX32" fmla="*/ 1084231 w 3581400"/>
                <a:gd name="connsiteY32" fmla="*/ 2085689 h 4152900"/>
                <a:gd name="connsiteX33" fmla="*/ 1094423 w 3581400"/>
                <a:gd name="connsiteY33" fmla="*/ 1973390 h 4152900"/>
                <a:gd name="connsiteX34" fmla="*/ 879634 w 3581400"/>
                <a:gd name="connsiteY34" fmla="*/ 1973390 h 4152900"/>
                <a:gd name="connsiteX35" fmla="*/ 879634 w 3581400"/>
                <a:gd name="connsiteY35" fmla="*/ 1635824 h 4152900"/>
                <a:gd name="connsiteX36" fmla="*/ 1145572 w 3581400"/>
                <a:gd name="connsiteY36" fmla="*/ 1635824 h 4152900"/>
                <a:gd name="connsiteX37" fmla="*/ 2321528 w 3581400"/>
                <a:gd name="connsiteY37" fmla="*/ 705326 h 4152900"/>
                <a:gd name="connsiteX38" fmla="*/ 2843117 w 3581400"/>
                <a:gd name="connsiteY38" fmla="*/ 838295 h 4152900"/>
                <a:gd name="connsiteX39" fmla="*/ 2843117 w 3581400"/>
                <a:gd name="connsiteY39" fmla="*/ 1359884 h 415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81400" h="4152900">
                  <a:moveTo>
                    <a:pt x="3576733" y="3235262"/>
                  </a:moveTo>
                  <a:cubicBezTo>
                    <a:pt x="3577209" y="3214592"/>
                    <a:pt x="3578257" y="3191542"/>
                    <a:pt x="3578733" y="3168777"/>
                  </a:cubicBezTo>
                  <a:cubicBezTo>
                    <a:pt x="3564446" y="3155442"/>
                    <a:pt x="3550063" y="3142203"/>
                    <a:pt x="3537776" y="3130963"/>
                  </a:cubicBezTo>
                  <a:cubicBezTo>
                    <a:pt x="3334988" y="2942558"/>
                    <a:pt x="2996184" y="2628043"/>
                    <a:pt x="2996184" y="2119694"/>
                  </a:cubicBezTo>
                  <a:cubicBezTo>
                    <a:pt x="2996184" y="1611344"/>
                    <a:pt x="3334988" y="1296829"/>
                    <a:pt x="3537490" y="1108901"/>
                  </a:cubicBezTo>
                  <a:cubicBezTo>
                    <a:pt x="3549777" y="1097375"/>
                    <a:pt x="3564065" y="1084136"/>
                    <a:pt x="3578638" y="1070801"/>
                  </a:cubicBezTo>
                  <a:cubicBezTo>
                    <a:pt x="3578162" y="1049084"/>
                    <a:pt x="3577399" y="1026795"/>
                    <a:pt x="3576638" y="1007936"/>
                  </a:cubicBezTo>
                  <a:cubicBezTo>
                    <a:pt x="3573304" y="905161"/>
                    <a:pt x="3569494" y="777526"/>
                    <a:pt x="3583781" y="639509"/>
                  </a:cubicBezTo>
                  <a:cubicBezTo>
                    <a:pt x="3210687" y="248507"/>
                    <a:pt x="2683193" y="0"/>
                    <a:pt x="2075879" y="0"/>
                  </a:cubicBezTo>
                  <a:cubicBezTo>
                    <a:pt x="920020" y="-190"/>
                    <a:pt x="0" y="961263"/>
                    <a:pt x="0" y="2085880"/>
                  </a:cubicBezTo>
                  <a:cubicBezTo>
                    <a:pt x="0" y="3190494"/>
                    <a:pt x="899827" y="4161949"/>
                    <a:pt x="2085975" y="4161949"/>
                  </a:cubicBezTo>
                  <a:cubicBezTo>
                    <a:pt x="2675668" y="4161949"/>
                    <a:pt x="3203162" y="3921633"/>
                    <a:pt x="3579019" y="3533394"/>
                  </a:cubicBezTo>
                  <a:cubicBezTo>
                    <a:pt x="3572161" y="3422428"/>
                    <a:pt x="3574161" y="3319367"/>
                    <a:pt x="3576733" y="3235262"/>
                  </a:cubicBezTo>
                  <a:close/>
                  <a:moveTo>
                    <a:pt x="2843117" y="1359884"/>
                  </a:moveTo>
                  <a:cubicBezTo>
                    <a:pt x="2689479" y="1247394"/>
                    <a:pt x="2515838" y="1196245"/>
                    <a:pt x="2341912" y="1196245"/>
                  </a:cubicBezTo>
                  <a:cubicBezTo>
                    <a:pt x="2055781" y="1196245"/>
                    <a:pt x="1820323" y="1359884"/>
                    <a:pt x="1697546" y="1635824"/>
                  </a:cubicBezTo>
                  <a:lnTo>
                    <a:pt x="2433733" y="1635824"/>
                  </a:lnTo>
                  <a:lnTo>
                    <a:pt x="2372582" y="1973390"/>
                  </a:lnTo>
                  <a:lnTo>
                    <a:pt x="1625918" y="1973390"/>
                  </a:lnTo>
                  <a:lnTo>
                    <a:pt x="1615916" y="2085880"/>
                  </a:lnTo>
                  <a:lnTo>
                    <a:pt x="1625918" y="2219135"/>
                  </a:lnTo>
                  <a:lnTo>
                    <a:pt x="2331625" y="2219135"/>
                  </a:lnTo>
                  <a:lnTo>
                    <a:pt x="2270474" y="2546414"/>
                  </a:lnTo>
                  <a:lnTo>
                    <a:pt x="1707928" y="2546414"/>
                  </a:lnTo>
                  <a:cubicBezTo>
                    <a:pt x="1830705" y="2822353"/>
                    <a:pt x="2055686" y="2985992"/>
                    <a:pt x="2341817" y="2985992"/>
                  </a:cubicBezTo>
                  <a:cubicBezTo>
                    <a:pt x="2515648" y="2985992"/>
                    <a:pt x="2689289" y="2924651"/>
                    <a:pt x="2843022" y="2812161"/>
                  </a:cubicBezTo>
                  <a:lnTo>
                    <a:pt x="2843022" y="3344037"/>
                  </a:lnTo>
                  <a:cubicBezTo>
                    <a:pt x="2689384" y="3425857"/>
                    <a:pt x="2515743" y="3466529"/>
                    <a:pt x="2311432" y="3466529"/>
                  </a:cubicBezTo>
                  <a:cubicBezTo>
                    <a:pt x="1748885" y="3466529"/>
                    <a:pt x="1298829" y="3118771"/>
                    <a:pt x="1145477" y="2546223"/>
                  </a:cubicBezTo>
                  <a:lnTo>
                    <a:pt x="879634" y="2546223"/>
                  </a:lnTo>
                  <a:lnTo>
                    <a:pt x="879634" y="2218944"/>
                  </a:lnTo>
                  <a:lnTo>
                    <a:pt x="1094423" y="2218944"/>
                  </a:lnTo>
                  <a:cubicBezTo>
                    <a:pt x="1084231" y="2188274"/>
                    <a:pt x="1084231" y="2147316"/>
                    <a:pt x="1084231" y="2085689"/>
                  </a:cubicBezTo>
                  <a:lnTo>
                    <a:pt x="1094423" y="1973390"/>
                  </a:lnTo>
                  <a:lnTo>
                    <a:pt x="879634" y="1973390"/>
                  </a:lnTo>
                  <a:lnTo>
                    <a:pt x="879634" y="1635824"/>
                  </a:lnTo>
                  <a:lnTo>
                    <a:pt x="1145572" y="1635824"/>
                  </a:lnTo>
                  <a:cubicBezTo>
                    <a:pt x="1299020" y="1063276"/>
                    <a:pt x="1748790" y="705326"/>
                    <a:pt x="2321528" y="705326"/>
                  </a:cubicBezTo>
                  <a:cubicBezTo>
                    <a:pt x="2515838" y="705326"/>
                    <a:pt x="2689479" y="746284"/>
                    <a:pt x="2843117" y="838295"/>
                  </a:cubicBezTo>
                  <a:lnTo>
                    <a:pt x="2843117" y="13598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" name="Freihandform: Form 36">
              <a:extLst>
                <a:ext uri="{FF2B5EF4-FFF2-40B4-BE49-F238E27FC236}">
                  <a16:creationId xmlns:a16="http://schemas.microsoft.com/office/drawing/2014/main" id="{5AE68646-8ED5-FE7D-1420-0A3A4737F662}"/>
                </a:ext>
              </a:extLst>
            </p:cNvPr>
            <p:cNvSpPr/>
            <p:nvPr/>
          </p:nvSpPr>
          <p:spPr bwMode="gray">
            <a:xfrm>
              <a:off x="7361491" y="2407539"/>
              <a:ext cx="942975" cy="2066925"/>
            </a:xfrm>
            <a:custGeom>
              <a:avLst/>
              <a:gdLst>
                <a:gd name="connsiteX0" fmla="*/ 0 w 942975"/>
                <a:gd name="connsiteY0" fmla="*/ 306324 h 2066925"/>
                <a:gd name="connsiteX1" fmla="*/ 0 w 942975"/>
                <a:gd name="connsiteY1" fmla="*/ 818674 h 2066925"/>
                <a:gd name="connsiteX2" fmla="*/ 451009 w 942975"/>
                <a:gd name="connsiteY2" fmla="*/ 585978 h 2066925"/>
                <a:gd name="connsiteX3" fmla="*/ 451009 w 942975"/>
                <a:gd name="connsiteY3" fmla="*/ 2068830 h 2066925"/>
                <a:gd name="connsiteX4" fmla="*/ 943451 w 942975"/>
                <a:gd name="connsiteY4" fmla="*/ 2068830 h 2066925"/>
                <a:gd name="connsiteX5" fmla="*/ 943451 w 942975"/>
                <a:gd name="connsiteY5" fmla="*/ 0 h 2066925"/>
                <a:gd name="connsiteX6" fmla="*/ 602647 w 942975"/>
                <a:gd name="connsiteY6" fmla="*/ 0 h 206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2975" h="2066925">
                  <a:moveTo>
                    <a:pt x="0" y="306324"/>
                  </a:moveTo>
                  <a:lnTo>
                    <a:pt x="0" y="818674"/>
                  </a:lnTo>
                  <a:lnTo>
                    <a:pt x="451009" y="585978"/>
                  </a:lnTo>
                  <a:lnTo>
                    <a:pt x="451009" y="2068830"/>
                  </a:lnTo>
                  <a:lnTo>
                    <a:pt x="943451" y="2068830"/>
                  </a:lnTo>
                  <a:lnTo>
                    <a:pt x="943451" y="0"/>
                  </a:lnTo>
                  <a:lnTo>
                    <a:pt x="60264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00" name="Grafik 99">
            <a:extLst>
              <a:ext uri="{FF2B5EF4-FFF2-40B4-BE49-F238E27FC236}">
                <a16:creationId xmlns:a16="http://schemas.microsoft.com/office/drawing/2014/main" id="{6A8117E7-F0F6-E802-F71E-05187BD1737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890706" y="3777415"/>
            <a:ext cx="664966" cy="540000"/>
            <a:chOff x="2624137" y="609600"/>
            <a:chExt cx="6943725" cy="5638800"/>
          </a:xfrm>
          <a:solidFill>
            <a:schemeClr val="bg1"/>
          </a:solidFill>
        </p:grpSpPr>
        <p:sp>
          <p:nvSpPr>
            <p:cNvPr id="101" name="Freihandform: Form 202">
              <a:extLst>
                <a:ext uri="{FF2B5EF4-FFF2-40B4-BE49-F238E27FC236}">
                  <a16:creationId xmlns:a16="http://schemas.microsoft.com/office/drawing/2014/main" id="{FF7021D9-56F7-7760-5249-19647550BD1D}"/>
                </a:ext>
              </a:extLst>
            </p:cNvPr>
            <p:cNvSpPr/>
            <p:nvPr/>
          </p:nvSpPr>
          <p:spPr bwMode="gray">
            <a:xfrm>
              <a:off x="2624137" y="4947095"/>
              <a:ext cx="6934200" cy="1295400"/>
            </a:xfrm>
            <a:custGeom>
              <a:avLst/>
              <a:gdLst>
                <a:gd name="connsiteX0" fmla="*/ 0 w 6934200"/>
                <a:gd name="connsiteY0" fmla="*/ 0 h 1295400"/>
                <a:gd name="connsiteX1" fmla="*/ 6940106 w 6934200"/>
                <a:gd name="connsiteY1" fmla="*/ 0 h 1295400"/>
                <a:gd name="connsiteX2" fmla="*/ 6940106 w 6934200"/>
                <a:gd name="connsiteY2" fmla="*/ 1301306 h 1295400"/>
                <a:gd name="connsiteX3" fmla="*/ 0 w 6934200"/>
                <a:gd name="connsiteY3" fmla="*/ 1301306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4200" h="1295400">
                  <a:moveTo>
                    <a:pt x="0" y="0"/>
                  </a:moveTo>
                  <a:lnTo>
                    <a:pt x="6940106" y="0"/>
                  </a:lnTo>
                  <a:lnTo>
                    <a:pt x="6940106" y="1301306"/>
                  </a:lnTo>
                  <a:lnTo>
                    <a:pt x="0" y="13013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203">
              <a:extLst>
                <a:ext uri="{FF2B5EF4-FFF2-40B4-BE49-F238E27FC236}">
                  <a16:creationId xmlns:a16="http://schemas.microsoft.com/office/drawing/2014/main" id="{E63B824F-6A59-F1F1-0724-779CCDA08C12}"/>
                </a:ext>
              </a:extLst>
            </p:cNvPr>
            <p:cNvSpPr/>
            <p:nvPr/>
          </p:nvSpPr>
          <p:spPr bwMode="gray">
            <a:xfrm>
              <a:off x="2896361" y="1391602"/>
              <a:ext cx="5724525" cy="3105150"/>
            </a:xfrm>
            <a:custGeom>
              <a:avLst/>
              <a:gdLst>
                <a:gd name="connsiteX0" fmla="*/ 1088422 w 5724525"/>
                <a:gd name="connsiteY0" fmla="*/ 2156460 h 3105150"/>
                <a:gd name="connsiteX1" fmla="*/ 1998631 w 5724525"/>
                <a:gd name="connsiteY1" fmla="*/ 2722531 h 3105150"/>
                <a:gd name="connsiteX2" fmla="*/ 2171700 w 5724525"/>
                <a:gd name="connsiteY2" fmla="*/ 2747296 h 3105150"/>
                <a:gd name="connsiteX3" fmla="*/ 2306860 w 5724525"/>
                <a:gd name="connsiteY3" fmla="*/ 2636234 h 3105150"/>
                <a:gd name="connsiteX4" fmla="*/ 3085910 w 5724525"/>
                <a:gd name="connsiteY4" fmla="*/ 1094423 h 3105150"/>
                <a:gd name="connsiteX5" fmla="*/ 4184428 w 5724525"/>
                <a:gd name="connsiteY5" fmla="*/ 1647635 h 3105150"/>
                <a:gd name="connsiteX6" fmla="*/ 4435983 w 5724525"/>
                <a:gd name="connsiteY6" fmla="*/ 1606868 h 3105150"/>
                <a:gd name="connsiteX7" fmla="*/ 5728145 w 5724525"/>
                <a:gd name="connsiteY7" fmla="*/ 305562 h 3105150"/>
                <a:gd name="connsiteX8" fmla="*/ 5420202 w 5724525"/>
                <a:gd name="connsiteY8" fmla="*/ 0 h 3105150"/>
                <a:gd name="connsiteX9" fmla="*/ 4239006 w 5724525"/>
                <a:gd name="connsiteY9" fmla="*/ 1189673 h 3105150"/>
                <a:gd name="connsiteX10" fmla="*/ 3087434 w 5724525"/>
                <a:gd name="connsiteY10" fmla="*/ 609790 h 3105150"/>
                <a:gd name="connsiteX11" fmla="*/ 2796159 w 5724525"/>
                <a:gd name="connsiteY11" fmla="*/ 705612 h 3105150"/>
                <a:gd name="connsiteX12" fmla="*/ 2026444 w 5724525"/>
                <a:gd name="connsiteY12" fmla="*/ 2229136 h 3105150"/>
                <a:gd name="connsiteX13" fmla="*/ 1152430 w 5724525"/>
                <a:gd name="connsiteY13" fmla="*/ 1685639 h 3105150"/>
                <a:gd name="connsiteX14" fmla="*/ 867442 w 5724525"/>
                <a:gd name="connsiteY14" fmla="*/ 1735741 h 3105150"/>
                <a:gd name="connsiteX15" fmla="*/ 0 w 5724525"/>
                <a:gd name="connsiteY15" fmla="*/ 2838069 h 3105150"/>
                <a:gd name="connsiteX16" fmla="*/ 340900 w 5724525"/>
                <a:gd name="connsiteY16" fmla="*/ 3106103 h 3105150"/>
                <a:gd name="connsiteX17" fmla="*/ 1088422 w 5724525"/>
                <a:gd name="connsiteY17" fmla="*/ 2156460 h 310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24525" h="3105150">
                  <a:moveTo>
                    <a:pt x="1088422" y="2156460"/>
                  </a:moveTo>
                  <a:lnTo>
                    <a:pt x="1998631" y="2722531"/>
                  </a:lnTo>
                  <a:cubicBezTo>
                    <a:pt x="2050447" y="2754821"/>
                    <a:pt x="2114264" y="2763774"/>
                    <a:pt x="2171700" y="2747296"/>
                  </a:cubicBezTo>
                  <a:cubicBezTo>
                    <a:pt x="2230469" y="2730818"/>
                    <a:pt x="2279237" y="2690432"/>
                    <a:pt x="2306860" y="2636234"/>
                  </a:cubicBezTo>
                  <a:lnTo>
                    <a:pt x="3085910" y="1094423"/>
                  </a:lnTo>
                  <a:lnTo>
                    <a:pt x="4184428" y="1647635"/>
                  </a:lnTo>
                  <a:cubicBezTo>
                    <a:pt x="4268534" y="1689735"/>
                    <a:pt x="4369594" y="1673638"/>
                    <a:pt x="4435983" y="1606868"/>
                  </a:cubicBezTo>
                  <a:lnTo>
                    <a:pt x="5728145" y="305562"/>
                  </a:lnTo>
                  <a:lnTo>
                    <a:pt x="5420202" y="0"/>
                  </a:lnTo>
                  <a:lnTo>
                    <a:pt x="4239006" y="1189673"/>
                  </a:lnTo>
                  <a:lnTo>
                    <a:pt x="3087434" y="609790"/>
                  </a:lnTo>
                  <a:cubicBezTo>
                    <a:pt x="2980754" y="556260"/>
                    <a:pt x="2850166" y="598742"/>
                    <a:pt x="2796159" y="705612"/>
                  </a:cubicBezTo>
                  <a:lnTo>
                    <a:pt x="2026444" y="2229136"/>
                  </a:lnTo>
                  <a:lnTo>
                    <a:pt x="1152430" y="1685639"/>
                  </a:lnTo>
                  <a:cubicBezTo>
                    <a:pt x="1058132" y="1626870"/>
                    <a:pt x="935546" y="1648968"/>
                    <a:pt x="867442" y="1735741"/>
                  </a:cubicBezTo>
                  <a:lnTo>
                    <a:pt x="0" y="2838069"/>
                  </a:lnTo>
                  <a:lnTo>
                    <a:pt x="340900" y="3106103"/>
                  </a:lnTo>
                  <a:lnTo>
                    <a:pt x="1088422" y="21564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" name="Freihandform: Form 204">
              <a:extLst>
                <a:ext uri="{FF2B5EF4-FFF2-40B4-BE49-F238E27FC236}">
                  <a16:creationId xmlns:a16="http://schemas.microsoft.com/office/drawing/2014/main" id="{E7BBE3E6-2AB9-4376-A4E1-FE8E5C41D9E0}"/>
                </a:ext>
              </a:extLst>
            </p:cNvPr>
            <p:cNvSpPr/>
            <p:nvPr/>
          </p:nvSpPr>
          <p:spPr bwMode="gray">
            <a:xfrm>
              <a:off x="7395400" y="609600"/>
              <a:ext cx="1943100" cy="1943100"/>
            </a:xfrm>
            <a:custGeom>
              <a:avLst/>
              <a:gdLst>
                <a:gd name="connsiteX0" fmla="*/ 1518190 w 1943100"/>
                <a:gd name="connsiteY0" fmla="*/ 1951863 h 1943100"/>
                <a:gd name="connsiteX1" fmla="*/ 1951958 w 1943100"/>
                <a:gd name="connsiteY1" fmla="*/ 1951863 h 1943100"/>
                <a:gd name="connsiteX2" fmla="*/ 1951958 w 1943100"/>
                <a:gd name="connsiteY2" fmla="*/ 216884 h 1943100"/>
                <a:gd name="connsiteX3" fmla="*/ 1735074 w 1943100"/>
                <a:gd name="connsiteY3" fmla="*/ 0 h 1943100"/>
                <a:gd name="connsiteX4" fmla="*/ 0 w 1943100"/>
                <a:gd name="connsiteY4" fmla="*/ 0 h 1943100"/>
                <a:gd name="connsiteX5" fmla="*/ 0 w 1943100"/>
                <a:gd name="connsiteY5" fmla="*/ 433769 h 1943100"/>
                <a:gd name="connsiteX6" fmla="*/ 1518094 w 1943100"/>
                <a:gd name="connsiteY6" fmla="*/ 433769 h 1943100"/>
                <a:gd name="connsiteX7" fmla="*/ 1518094 w 1943100"/>
                <a:gd name="connsiteY7" fmla="*/ 1951863 h 19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3100" h="1943100">
                  <a:moveTo>
                    <a:pt x="1518190" y="1951863"/>
                  </a:moveTo>
                  <a:lnTo>
                    <a:pt x="1951958" y="1951863"/>
                  </a:lnTo>
                  <a:lnTo>
                    <a:pt x="1951958" y="216884"/>
                  </a:lnTo>
                  <a:cubicBezTo>
                    <a:pt x="1951482" y="97346"/>
                    <a:pt x="1854517" y="0"/>
                    <a:pt x="1735074" y="0"/>
                  </a:cubicBezTo>
                  <a:lnTo>
                    <a:pt x="0" y="0"/>
                  </a:lnTo>
                  <a:lnTo>
                    <a:pt x="0" y="433769"/>
                  </a:lnTo>
                  <a:lnTo>
                    <a:pt x="1518094" y="433769"/>
                  </a:lnTo>
                  <a:lnTo>
                    <a:pt x="1518094" y="19518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14048182-F67D-0B99-4D29-1F80347FF6E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61539" y="3777415"/>
            <a:ext cx="512063" cy="540000"/>
            <a:chOff x="3119437" y="285750"/>
            <a:chExt cx="5953125" cy="6277928"/>
          </a:xfrm>
          <a:solidFill>
            <a:schemeClr val="bg1"/>
          </a:solidFill>
        </p:grpSpPr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B245B290-0A9B-DA69-A471-7913FAB1C9A6}"/>
                </a:ext>
              </a:extLst>
            </p:cNvPr>
            <p:cNvSpPr/>
            <p:nvPr/>
          </p:nvSpPr>
          <p:spPr bwMode="gray">
            <a:xfrm>
              <a:off x="5571172" y="2201228"/>
              <a:ext cx="3495675" cy="3495675"/>
            </a:xfrm>
            <a:custGeom>
              <a:avLst/>
              <a:gdLst>
                <a:gd name="connsiteX0" fmla="*/ 1225868 w 3495675"/>
                <a:gd name="connsiteY0" fmla="*/ 2276666 h 3495675"/>
                <a:gd name="connsiteX1" fmla="*/ 0 w 3495675"/>
                <a:gd name="connsiteY1" fmla="*/ 2276666 h 3495675"/>
                <a:gd name="connsiteX2" fmla="*/ 0 w 3495675"/>
                <a:gd name="connsiteY2" fmla="*/ 1225963 h 3495675"/>
                <a:gd name="connsiteX3" fmla="*/ 1225868 w 3495675"/>
                <a:gd name="connsiteY3" fmla="*/ 1225963 h 3495675"/>
                <a:gd name="connsiteX4" fmla="*/ 1225868 w 3495675"/>
                <a:gd name="connsiteY4" fmla="*/ 0 h 3495675"/>
                <a:gd name="connsiteX5" fmla="*/ 2276666 w 3495675"/>
                <a:gd name="connsiteY5" fmla="*/ 0 h 3495675"/>
                <a:gd name="connsiteX6" fmla="*/ 2276666 w 3495675"/>
                <a:gd name="connsiteY6" fmla="*/ 1225867 h 3495675"/>
                <a:gd name="connsiteX7" fmla="*/ 3502533 w 3495675"/>
                <a:gd name="connsiteY7" fmla="*/ 1225867 h 3495675"/>
                <a:gd name="connsiteX8" fmla="*/ 3502533 w 3495675"/>
                <a:gd name="connsiteY8" fmla="*/ 2276666 h 3495675"/>
                <a:gd name="connsiteX9" fmla="*/ 2276666 w 3495675"/>
                <a:gd name="connsiteY9" fmla="*/ 2276666 h 3495675"/>
                <a:gd name="connsiteX10" fmla="*/ 2276666 w 3495675"/>
                <a:gd name="connsiteY10" fmla="*/ 3502533 h 3495675"/>
                <a:gd name="connsiteX11" fmla="*/ 1225868 w 3495675"/>
                <a:gd name="connsiteY11" fmla="*/ 3502533 h 3495675"/>
                <a:gd name="connsiteX12" fmla="*/ 1225868 w 3495675"/>
                <a:gd name="connsiteY12" fmla="*/ 2276666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95675" h="3495675">
                  <a:moveTo>
                    <a:pt x="1225868" y="2276666"/>
                  </a:moveTo>
                  <a:lnTo>
                    <a:pt x="0" y="2276666"/>
                  </a:lnTo>
                  <a:lnTo>
                    <a:pt x="0" y="1225963"/>
                  </a:lnTo>
                  <a:lnTo>
                    <a:pt x="1225868" y="1225963"/>
                  </a:lnTo>
                  <a:lnTo>
                    <a:pt x="1225868" y="0"/>
                  </a:lnTo>
                  <a:lnTo>
                    <a:pt x="2276666" y="0"/>
                  </a:lnTo>
                  <a:lnTo>
                    <a:pt x="2276666" y="1225867"/>
                  </a:lnTo>
                  <a:lnTo>
                    <a:pt x="3502533" y="1225867"/>
                  </a:lnTo>
                  <a:lnTo>
                    <a:pt x="3502533" y="2276666"/>
                  </a:lnTo>
                  <a:lnTo>
                    <a:pt x="2276666" y="2276666"/>
                  </a:lnTo>
                  <a:lnTo>
                    <a:pt x="2276666" y="3502533"/>
                  </a:lnTo>
                  <a:lnTo>
                    <a:pt x="1225868" y="3502533"/>
                  </a:lnTo>
                  <a:lnTo>
                    <a:pt x="1225868" y="22766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FB37671A-8658-AAE0-E55E-312E3B029491}"/>
                </a:ext>
              </a:extLst>
            </p:cNvPr>
            <p:cNvSpPr/>
            <p:nvPr/>
          </p:nvSpPr>
          <p:spPr bwMode="gray">
            <a:xfrm>
              <a:off x="3119437" y="1325594"/>
              <a:ext cx="5953125" cy="2447925"/>
            </a:xfrm>
            <a:custGeom>
              <a:avLst/>
              <a:gdLst>
                <a:gd name="connsiteX0" fmla="*/ 2101501 w 5953125"/>
                <a:gd name="connsiteY0" fmla="*/ 2457260 h 2447925"/>
                <a:gd name="connsiteX1" fmla="*/ 175165 w 5953125"/>
                <a:gd name="connsiteY1" fmla="*/ 2457260 h 2447925"/>
                <a:gd name="connsiteX2" fmla="*/ 0 w 5953125"/>
                <a:gd name="connsiteY2" fmla="*/ 2282095 h 2447925"/>
                <a:gd name="connsiteX3" fmla="*/ 0 w 5953125"/>
                <a:gd name="connsiteY3" fmla="*/ 175165 h 2447925"/>
                <a:gd name="connsiteX4" fmla="*/ 51530 w 5953125"/>
                <a:gd name="connsiteY4" fmla="*/ 51149 h 2447925"/>
                <a:gd name="connsiteX5" fmla="*/ 175165 w 5953125"/>
                <a:gd name="connsiteY5" fmla="*/ 0 h 2447925"/>
                <a:gd name="connsiteX6" fmla="*/ 175546 w 5953125"/>
                <a:gd name="connsiteY6" fmla="*/ 0 h 2447925"/>
                <a:gd name="connsiteX7" fmla="*/ 5775579 w 5953125"/>
                <a:gd name="connsiteY7" fmla="*/ 8573 h 2447925"/>
                <a:gd name="connsiteX8" fmla="*/ 5954364 w 5953125"/>
                <a:gd name="connsiteY8" fmla="*/ 183356 h 2447925"/>
                <a:gd name="connsiteX9" fmla="*/ 5954364 w 5953125"/>
                <a:gd name="connsiteY9" fmla="*/ 1751267 h 2447925"/>
                <a:gd name="connsiteX10" fmla="*/ 5604129 w 5953125"/>
                <a:gd name="connsiteY10" fmla="*/ 1751267 h 2447925"/>
                <a:gd name="connsiteX11" fmla="*/ 5600700 w 5953125"/>
                <a:gd name="connsiteY11" fmla="*/ 358902 h 2447925"/>
                <a:gd name="connsiteX12" fmla="*/ 350234 w 5953125"/>
                <a:gd name="connsiteY12" fmla="*/ 350711 h 2447925"/>
                <a:gd name="connsiteX13" fmla="*/ 350234 w 5953125"/>
                <a:gd name="connsiteY13" fmla="*/ 2107025 h 2447925"/>
                <a:gd name="connsiteX14" fmla="*/ 2101501 w 5953125"/>
                <a:gd name="connsiteY14" fmla="*/ 2107025 h 2447925"/>
                <a:gd name="connsiteX15" fmla="*/ 2101501 w 5953125"/>
                <a:gd name="connsiteY15" fmla="*/ 2457260 h 244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53125" h="2447925">
                  <a:moveTo>
                    <a:pt x="2101501" y="2457260"/>
                  </a:moveTo>
                  <a:lnTo>
                    <a:pt x="175165" y="2457260"/>
                  </a:lnTo>
                  <a:cubicBezTo>
                    <a:pt x="78296" y="2457260"/>
                    <a:pt x="0" y="2378774"/>
                    <a:pt x="0" y="2282095"/>
                  </a:cubicBezTo>
                  <a:lnTo>
                    <a:pt x="0" y="175165"/>
                  </a:lnTo>
                  <a:cubicBezTo>
                    <a:pt x="0" y="128588"/>
                    <a:pt x="18383" y="83915"/>
                    <a:pt x="51530" y="51149"/>
                  </a:cubicBezTo>
                  <a:cubicBezTo>
                    <a:pt x="84296" y="18383"/>
                    <a:pt x="128778" y="0"/>
                    <a:pt x="175165" y="0"/>
                  </a:cubicBezTo>
                  <a:cubicBezTo>
                    <a:pt x="175355" y="0"/>
                    <a:pt x="175355" y="0"/>
                    <a:pt x="175546" y="0"/>
                  </a:cubicBezTo>
                  <a:lnTo>
                    <a:pt x="5775579" y="8573"/>
                  </a:lnTo>
                  <a:cubicBezTo>
                    <a:pt x="5872258" y="8573"/>
                    <a:pt x="5954364" y="86677"/>
                    <a:pt x="5954364" y="183356"/>
                  </a:cubicBezTo>
                  <a:lnTo>
                    <a:pt x="5954364" y="1751267"/>
                  </a:lnTo>
                  <a:lnTo>
                    <a:pt x="5604129" y="1751267"/>
                  </a:lnTo>
                  <a:lnTo>
                    <a:pt x="5600700" y="358902"/>
                  </a:lnTo>
                  <a:lnTo>
                    <a:pt x="350234" y="350711"/>
                  </a:lnTo>
                  <a:lnTo>
                    <a:pt x="350234" y="2107025"/>
                  </a:lnTo>
                  <a:lnTo>
                    <a:pt x="2101501" y="2107025"/>
                  </a:lnTo>
                  <a:lnTo>
                    <a:pt x="2101501" y="24572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80E2FD5F-99CB-CD5F-C310-3E0FB7DAF76D}"/>
                </a:ext>
              </a:extLst>
            </p:cNvPr>
            <p:cNvSpPr/>
            <p:nvPr/>
          </p:nvSpPr>
          <p:spPr bwMode="gray">
            <a:xfrm>
              <a:off x="5231987" y="285750"/>
              <a:ext cx="1733550" cy="685800"/>
            </a:xfrm>
            <a:custGeom>
              <a:avLst/>
              <a:gdLst>
                <a:gd name="connsiteX0" fmla="*/ 1740408 w 1733550"/>
                <a:gd name="connsiteY0" fmla="*/ 695039 h 685800"/>
                <a:gd name="connsiteX1" fmla="*/ 1390174 w 1733550"/>
                <a:gd name="connsiteY1" fmla="*/ 695039 h 685800"/>
                <a:gd name="connsiteX2" fmla="*/ 1390174 w 1733550"/>
                <a:gd name="connsiteY2" fmla="*/ 350234 h 685800"/>
                <a:gd name="connsiteX3" fmla="*/ 350234 w 1733550"/>
                <a:gd name="connsiteY3" fmla="*/ 350234 h 685800"/>
                <a:gd name="connsiteX4" fmla="*/ 350234 w 1733550"/>
                <a:gd name="connsiteY4" fmla="*/ 695039 h 685800"/>
                <a:gd name="connsiteX5" fmla="*/ 0 w 1733550"/>
                <a:gd name="connsiteY5" fmla="*/ 695039 h 685800"/>
                <a:gd name="connsiteX6" fmla="*/ 0 w 1733550"/>
                <a:gd name="connsiteY6" fmla="*/ 175165 h 685800"/>
                <a:gd name="connsiteX7" fmla="*/ 175070 w 1733550"/>
                <a:gd name="connsiteY7" fmla="*/ 0 h 685800"/>
                <a:gd name="connsiteX8" fmla="*/ 1565243 w 1733550"/>
                <a:gd name="connsiteY8" fmla="*/ 0 h 685800"/>
                <a:gd name="connsiteX9" fmla="*/ 1740408 w 1733550"/>
                <a:gd name="connsiteY9" fmla="*/ 175165 h 685800"/>
                <a:gd name="connsiteX10" fmla="*/ 1740408 w 1733550"/>
                <a:gd name="connsiteY10" fmla="*/ 695039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3550" h="685800">
                  <a:moveTo>
                    <a:pt x="1740408" y="695039"/>
                  </a:moveTo>
                  <a:lnTo>
                    <a:pt x="1390174" y="695039"/>
                  </a:lnTo>
                  <a:lnTo>
                    <a:pt x="1390174" y="350234"/>
                  </a:lnTo>
                  <a:lnTo>
                    <a:pt x="350234" y="350234"/>
                  </a:lnTo>
                  <a:lnTo>
                    <a:pt x="350234" y="695039"/>
                  </a:lnTo>
                  <a:lnTo>
                    <a:pt x="0" y="695039"/>
                  </a:lnTo>
                  <a:lnTo>
                    <a:pt x="0" y="175165"/>
                  </a:lnTo>
                  <a:cubicBezTo>
                    <a:pt x="0" y="78486"/>
                    <a:pt x="78296" y="0"/>
                    <a:pt x="175070" y="0"/>
                  </a:cubicBezTo>
                  <a:lnTo>
                    <a:pt x="1565243" y="0"/>
                  </a:lnTo>
                  <a:cubicBezTo>
                    <a:pt x="1662113" y="0"/>
                    <a:pt x="1740408" y="78486"/>
                    <a:pt x="1740408" y="175165"/>
                  </a:cubicBezTo>
                  <a:lnTo>
                    <a:pt x="1740408" y="6950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DC3A51A2-7A8C-049C-11E0-AC4B633BCDE9}"/>
                </a:ext>
              </a:extLst>
            </p:cNvPr>
            <p:cNvSpPr/>
            <p:nvPr/>
          </p:nvSpPr>
          <p:spPr bwMode="gray">
            <a:xfrm>
              <a:off x="3119437" y="4134803"/>
              <a:ext cx="5953125" cy="2428875"/>
            </a:xfrm>
            <a:custGeom>
              <a:avLst/>
              <a:gdLst>
                <a:gd name="connsiteX0" fmla="*/ 5779294 w 5953125"/>
                <a:gd name="connsiteY0" fmla="*/ 2437257 h 2428875"/>
                <a:gd name="connsiteX1" fmla="*/ 175165 w 5953125"/>
                <a:gd name="connsiteY1" fmla="*/ 2437257 h 2428875"/>
                <a:gd name="connsiteX2" fmla="*/ 0 w 5953125"/>
                <a:gd name="connsiteY2" fmla="*/ 2262093 h 2428875"/>
                <a:gd name="connsiteX3" fmla="*/ 0 w 5953125"/>
                <a:gd name="connsiteY3" fmla="*/ 0 h 2428875"/>
                <a:gd name="connsiteX4" fmla="*/ 350234 w 5953125"/>
                <a:gd name="connsiteY4" fmla="*/ 0 h 2428875"/>
                <a:gd name="connsiteX5" fmla="*/ 350234 w 5953125"/>
                <a:gd name="connsiteY5" fmla="*/ 2086928 h 2428875"/>
                <a:gd name="connsiteX6" fmla="*/ 5604224 w 5953125"/>
                <a:gd name="connsiteY6" fmla="*/ 2086928 h 2428875"/>
                <a:gd name="connsiteX7" fmla="*/ 5604224 w 5953125"/>
                <a:gd name="connsiteY7" fmla="*/ 693325 h 2428875"/>
                <a:gd name="connsiteX8" fmla="*/ 5954459 w 5953125"/>
                <a:gd name="connsiteY8" fmla="*/ 693325 h 2428875"/>
                <a:gd name="connsiteX9" fmla="*/ 5954459 w 5953125"/>
                <a:gd name="connsiteY9" fmla="*/ 2262093 h 2428875"/>
                <a:gd name="connsiteX10" fmla="*/ 5779294 w 5953125"/>
                <a:gd name="connsiteY10" fmla="*/ 2437257 h 2428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53125" h="2428875">
                  <a:moveTo>
                    <a:pt x="5779294" y="2437257"/>
                  </a:moveTo>
                  <a:lnTo>
                    <a:pt x="175165" y="2437257"/>
                  </a:lnTo>
                  <a:cubicBezTo>
                    <a:pt x="78296" y="2437257"/>
                    <a:pt x="0" y="2358771"/>
                    <a:pt x="0" y="2262093"/>
                  </a:cubicBezTo>
                  <a:lnTo>
                    <a:pt x="0" y="0"/>
                  </a:lnTo>
                  <a:lnTo>
                    <a:pt x="350234" y="0"/>
                  </a:lnTo>
                  <a:lnTo>
                    <a:pt x="350234" y="2086928"/>
                  </a:lnTo>
                  <a:lnTo>
                    <a:pt x="5604224" y="2086928"/>
                  </a:lnTo>
                  <a:lnTo>
                    <a:pt x="5604224" y="693325"/>
                  </a:lnTo>
                  <a:lnTo>
                    <a:pt x="5954459" y="693325"/>
                  </a:lnTo>
                  <a:lnTo>
                    <a:pt x="5954459" y="2262093"/>
                  </a:lnTo>
                  <a:cubicBezTo>
                    <a:pt x="5954459" y="2358962"/>
                    <a:pt x="5876163" y="2437257"/>
                    <a:pt x="5779294" y="24372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09" name="Grafik 34">
            <a:extLst>
              <a:ext uri="{FF2B5EF4-FFF2-40B4-BE49-F238E27FC236}">
                <a16:creationId xmlns:a16="http://schemas.microsoft.com/office/drawing/2014/main" id="{B24BD3FF-9AE2-1E2C-5988-43736B07C44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863418" y="4894795"/>
            <a:ext cx="737479" cy="540000"/>
            <a:chOff x="4086225" y="1957387"/>
            <a:chExt cx="4019550" cy="2943225"/>
          </a:xfrm>
          <a:solidFill>
            <a:schemeClr val="bg1"/>
          </a:solidFill>
        </p:grpSpPr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3D3BA463-A220-0B1F-2EEF-B9C4C6238FD9}"/>
                </a:ext>
              </a:extLst>
            </p:cNvPr>
            <p:cNvSpPr/>
            <p:nvPr/>
          </p:nvSpPr>
          <p:spPr bwMode="gray">
            <a:xfrm>
              <a:off x="4086225" y="1957387"/>
              <a:ext cx="1333500" cy="1333500"/>
            </a:xfrm>
            <a:custGeom>
              <a:avLst/>
              <a:gdLst>
                <a:gd name="connsiteX0" fmla="*/ 0 w 1333500"/>
                <a:gd name="connsiteY0" fmla="*/ 0 h 1333500"/>
                <a:gd name="connsiteX1" fmla="*/ 1339882 w 1333500"/>
                <a:gd name="connsiteY1" fmla="*/ 0 h 1333500"/>
                <a:gd name="connsiteX2" fmla="*/ 1339882 w 1333500"/>
                <a:gd name="connsiteY2" fmla="*/ 1339882 h 1333500"/>
                <a:gd name="connsiteX3" fmla="*/ 0 w 1333500"/>
                <a:gd name="connsiteY3" fmla="*/ 1339882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0" h="1333500">
                  <a:moveTo>
                    <a:pt x="0" y="0"/>
                  </a:moveTo>
                  <a:lnTo>
                    <a:pt x="1339882" y="0"/>
                  </a:lnTo>
                  <a:lnTo>
                    <a:pt x="1339882" y="1339882"/>
                  </a:lnTo>
                  <a:lnTo>
                    <a:pt x="0" y="13398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5D7EAF66-E116-6CD3-8699-3E3FB11014FE}"/>
                </a:ext>
              </a:extLst>
            </p:cNvPr>
            <p:cNvSpPr/>
            <p:nvPr/>
          </p:nvSpPr>
          <p:spPr bwMode="gray">
            <a:xfrm>
              <a:off x="4488180" y="3565207"/>
              <a:ext cx="800100" cy="800100"/>
            </a:xfrm>
            <a:custGeom>
              <a:avLst/>
              <a:gdLst>
                <a:gd name="connsiteX0" fmla="*/ 0 w 800100"/>
                <a:gd name="connsiteY0" fmla="*/ 0 h 800100"/>
                <a:gd name="connsiteX1" fmla="*/ 803910 w 800100"/>
                <a:gd name="connsiteY1" fmla="*/ 0 h 800100"/>
                <a:gd name="connsiteX2" fmla="*/ 803910 w 800100"/>
                <a:gd name="connsiteY2" fmla="*/ 803910 h 800100"/>
                <a:gd name="connsiteX3" fmla="*/ 0 w 800100"/>
                <a:gd name="connsiteY3" fmla="*/ 803910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100" h="800100">
                  <a:moveTo>
                    <a:pt x="0" y="0"/>
                  </a:moveTo>
                  <a:lnTo>
                    <a:pt x="803910" y="0"/>
                  </a:lnTo>
                  <a:lnTo>
                    <a:pt x="803910" y="803910"/>
                  </a:lnTo>
                  <a:lnTo>
                    <a:pt x="0" y="8039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855E48DE-6278-1FAE-FF62-4D2C1B23C6C9}"/>
                </a:ext>
              </a:extLst>
            </p:cNvPr>
            <p:cNvSpPr/>
            <p:nvPr/>
          </p:nvSpPr>
          <p:spPr bwMode="gray">
            <a:xfrm>
              <a:off x="5694045" y="2493359"/>
              <a:ext cx="2409825" cy="2409825"/>
            </a:xfrm>
            <a:custGeom>
              <a:avLst/>
              <a:gdLst>
                <a:gd name="connsiteX0" fmla="*/ 2143792 w 2409825"/>
                <a:gd name="connsiteY0" fmla="*/ 0 h 2409825"/>
                <a:gd name="connsiteX1" fmla="*/ 267938 w 2409825"/>
                <a:gd name="connsiteY1" fmla="*/ 0 h 2409825"/>
                <a:gd name="connsiteX2" fmla="*/ 0 w 2409825"/>
                <a:gd name="connsiteY2" fmla="*/ 0 h 2409825"/>
                <a:gd name="connsiteX3" fmla="*/ 0 w 2409825"/>
                <a:gd name="connsiteY3" fmla="*/ 267938 h 2409825"/>
                <a:gd name="connsiteX4" fmla="*/ 0 w 2409825"/>
                <a:gd name="connsiteY4" fmla="*/ 2143696 h 2409825"/>
                <a:gd name="connsiteX5" fmla="*/ 0 w 2409825"/>
                <a:gd name="connsiteY5" fmla="*/ 2411635 h 2409825"/>
                <a:gd name="connsiteX6" fmla="*/ 267938 w 2409825"/>
                <a:gd name="connsiteY6" fmla="*/ 2411635 h 2409825"/>
                <a:gd name="connsiteX7" fmla="*/ 2143696 w 2409825"/>
                <a:gd name="connsiteY7" fmla="*/ 2411635 h 2409825"/>
                <a:gd name="connsiteX8" fmla="*/ 2411730 w 2409825"/>
                <a:gd name="connsiteY8" fmla="*/ 2411635 h 2409825"/>
                <a:gd name="connsiteX9" fmla="*/ 2411730 w 2409825"/>
                <a:gd name="connsiteY9" fmla="*/ 2143696 h 2409825"/>
                <a:gd name="connsiteX10" fmla="*/ 2411730 w 2409825"/>
                <a:gd name="connsiteY10" fmla="*/ 267938 h 2409825"/>
                <a:gd name="connsiteX11" fmla="*/ 2411730 w 2409825"/>
                <a:gd name="connsiteY11" fmla="*/ 0 h 2409825"/>
                <a:gd name="connsiteX12" fmla="*/ 2143792 w 2409825"/>
                <a:gd name="connsiteY12" fmla="*/ 0 h 2409825"/>
                <a:gd name="connsiteX13" fmla="*/ 2143792 w 2409825"/>
                <a:gd name="connsiteY13" fmla="*/ 2143696 h 2409825"/>
                <a:gd name="connsiteX14" fmla="*/ 267938 w 2409825"/>
                <a:gd name="connsiteY14" fmla="*/ 2143696 h 2409825"/>
                <a:gd name="connsiteX15" fmla="*/ 267938 w 2409825"/>
                <a:gd name="connsiteY15" fmla="*/ 267938 h 2409825"/>
                <a:gd name="connsiteX16" fmla="*/ 2143696 w 2409825"/>
                <a:gd name="connsiteY16" fmla="*/ 267938 h 2409825"/>
                <a:gd name="connsiteX17" fmla="*/ 2143696 w 2409825"/>
                <a:gd name="connsiteY17" fmla="*/ 2143696 h 2409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9825" h="2409825">
                  <a:moveTo>
                    <a:pt x="2143792" y="0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267938"/>
                  </a:lnTo>
                  <a:lnTo>
                    <a:pt x="0" y="2143696"/>
                  </a:lnTo>
                  <a:lnTo>
                    <a:pt x="0" y="2411635"/>
                  </a:lnTo>
                  <a:lnTo>
                    <a:pt x="267938" y="2411635"/>
                  </a:lnTo>
                  <a:lnTo>
                    <a:pt x="2143696" y="2411635"/>
                  </a:lnTo>
                  <a:lnTo>
                    <a:pt x="2411730" y="2411635"/>
                  </a:lnTo>
                  <a:lnTo>
                    <a:pt x="2411730" y="2143696"/>
                  </a:lnTo>
                  <a:lnTo>
                    <a:pt x="2411730" y="267938"/>
                  </a:lnTo>
                  <a:lnTo>
                    <a:pt x="2411730" y="0"/>
                  </a:lnTo>
                  <a:lnTo>
                    <a:pt x="2143792" y="0"/>
                  </a:lnTo>
                  <a:close/>
                  <a:moveTo>
                    <a:pt x="2143792" y="2143696"/>
                  </a:moveTo>
                  <a:lnTo>
                    <a:pt x="267938" y="2143696"/>
                  </a:lnTo>
                  <a:lnTo>
                    <a:pt x="267938" y="267938"/>
                  </a:lnTo>
                  <a:lnTo>
                    <a:pt x="2143696" y="267938"/>
                  </a:lnTo>
                  <a:lnTo>
                    <a:pt x="2143696" y="2143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13" name="Grafik 47">
            <a:extLst>
              <a:ext uri="{FF2B5EF4-FFF2-40B4-BE49-F238E27FC236}">
                <a16:creationId xmlns:a16="http://schemas.microsoft.com/office/drawing/2014/main" id="{482FD561-BB3A-74AE-12D0-A7A9BBA9B44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775511" y="4919361"/>
            <a:ext cx="608018" cy="540000"/>
            <a:chOff x="3328987" y="971550"/>
            <a:chExt cx="5534025" cy="4914900"/>
          </a:xfrm>
          <a:solidFill>
            <a:schemeClr val="bg1"/>
          </a:solidFill>
        </p:grpSpPr>
        <p:sp>
          <p:nvSpPr>
            <p:cNvPr id="114" name="Freihandform: Form 49">
              <a:extLst>
                <a:ext uri="{FF2B5EF4-FFF2-40B4-BE49-F238E27FC236}">
                  <a16:creationId xmlns:a16="http://schemas.microsoft.com/office/drawing/2014/main" id="{0E5B83AF-4B57-B4E3-1EA3-ACBB19584B8C}"/>
                </a:ext>
              </a:extLst>
            </p:cNvPr>
            <p:cNvSpPr/>
            <p:nvPr/>
          </p:nvSpPr>
          <p:spPr bwMode="gray">
            <a:xfrm>
              <a:off x="7323486" y="4042982"/>
              <a:ext cx="1533525" cy="914400"/>
            </a:xfrm>
            <a:custGeom>
              <a:avLst/>
              <a:gdLst>
                <a:gd name="connsiteX0" fmla="*/ 0 w 1533525"/>
                <a:gd name="connsiteY0" fmla="*/ 0 h 914400"/>
                <a:gd name="connsiteX1" fmla="*/ 1535716 w 1533525"/>
                <a:gd name="connsiteY1" fmla="*/ 0 h 914400"/>
                <a:gd name="connsiteX2" fmla="*/ 1535716 w 1533525"/>
                <a:gd name="connsiteY2" fmla="*/ 921448 h 914400"/>
                <a:gd name="connsiteX3" fmla="*/ 0 w 1533525"/>
                <a:gd name="connsiteY3" fmla="*/ 921448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3525" h="914400">
                  <a:moveTo>
                    <a:pt x="0" y="0"/>
                  </a:moveTo>
                  <a:lnTo>
                    <a:pt x="1535716" y="0"/>
                  </a:lnTo>
                  <a:lnTo>
                    <a:pt x="1535716" y="921448"/>
                  </a:lnTo>
                  <a:lnTo>
                    <a:pt x="0" y="9214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5" name="Freihandform: Form 50">
              <a:extLst>
                <a:ext uri="{FF2B5EF4-FFF2-40B4-BE49-F238E27FC236}">
                  <a16:creationId xmlns:a16="http://schemas.microsoft.com/office/drawing/2014/main" id="{FF47C2E2-2F2E-725C-1CFD-3162AAF54EF4}"/>
                </a:ext>
              </a:extLst>
            </p:cNvPr>
            <p:cNvSpPr/>
            <p:nvPr/>
          </p:nvSpPr>
          <p:spPr bwMode="gray">
            <a:xfrm>
              <a:off x="4856607" y="4074033"/>
              <a:ext cx="1809750" cy="1809750"/>
            </a:xfrm>
            <a:custGeom>
              <a:avLst/>
              <a:gdLst>
                <a:gd name="connsiteX0" fmla="*/ 906209 w 1809750"/>
                <a:gd name="connsiteY0" fmla="*/ 1812417 h 1809750"/>
                <a:gd name="connsiteX1" fmla="*/ 0 w 1809750"/>
                <a:gd name="connsiteY1" fmla="*/ 906208 h 1809750"/>
                <a:gd name="connsiteX2" fmla="*/ 906209 w 1809750"/>
                <a:gd name="connsiteY2" fmla="*/ 0 h 1809750"/>
                <a:gd name="connsiteX3" fmla="*/ 1812417 w 1809750"/>
                <a:gd name="connsiteY3" fmla="*/ 906208 h 1809750"/>
                <a:gd name="connsiteX4" fmla="*/ 906209 w 1809750"/>
                <a:gd name="connsiteY4" fmla="*/ 1812417 h 1809750"/>
                <a:gd name="connsiteX5" fmla="*/ 906209 w 1809750"/>
                <a:gd name="connsiteY5" fmla="*/ 307086 h 1809750"/>
                <a:gd name="connsiteX6" fmla="*/ 307086 w 1809750"/>
                <a:gd name="connsiteY6" fmla="*/ 906208 h 1809750"/>
                <a:gd name="connsiteX7" fmla="*/ 906209 w 1809750"/>
                <a:gd name="connsiteY7" fmla="*/ 1505331 h 1809750"/>
                <a:gd name="connsiteX8" fmla="*/ 1505331 w 1809750"/>
                <a:gd name="connsiteY8" fmla="*/ 906208 h 1809750"/>
                <a:gd name="connsiteX9" fmla="*/ 906209 w 1809750"/>
                <a:gd name="connsiteY9" fmla="*/ 307086 h 180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9750" h="1809750">
                  <a:moveTo>
                    <a:pt x="906209" y="1812417"/>
                  </a:moveTo>
                  <a:cubicBezTo>
                    <a:pt x="406527" y="1812417"/>
                    <a:pt x="0" y="1405890"/>
                    <a:pt x="0" y="906208"/>
                  </a:cubicBezTo>
                  <a:cubicBezTo>
                    <a:pt x="0" y="406527"/>
                    <a:pt x="406527" y="0"/>
                    <a:pt x="906209" y="0"/>
                  </a:cubicBezTo>
                  <a:cubicBezTo>
                    <a:pt x="1405890" y="0"/>
                    <a:pt x="1812417" y="406527"/>
                    <a:pt x="1812417" y="906208"/>
                  </a:cubicBezTo>
                  <a:cubicBezTo>
                    <a:pt x="1812417" y="1405890"/>
                    <a:pt x="1405890" y="1812417"/>
                    <a:pt x="906209" y="1812417"/>
                  </a:cubicBezTo>
                  <a:close/>
                  <a:moveTo>
                    <a:pt x="906209" y="307086"/>
                  </a:moveTo>
                  <a:cubicBezTo>
                    <a:pt x="575881" y="307086"/>
                    <a:pt x="307086" y="575786"/>
                    <a:pt x="307086" y="906208"/>
                  </a:cubicBezTo>
                  <a:cubicBezTo>
                    <a:pt x="307086" y="1236631"/>
                    <a:pt x="575881" y="1505331"/>
                    <a:pt x="906209" y="1505331"/>
                  </a:cubicBezTo>
                  <a:cubicBezTo>
                    <a:pt x="1236536" y="1505331"/>
                    <a:pt x="1505331" y="1236631"/>
                    <a:pt x="1505331" y="906208"/>
                  </a:cubicBezTo>
                  <a:cubicBezTo>
                    <a:pt x="1505426" y="575786"/>
                    <a:pt x="1236631" y="307086"/>
                    <a:pt x="906209" y="3070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6" name="Freihandform: Form 51">
              <a:extLst>
                <a:ext uri="{FF2B5EF4-FFF2-40B4-BE49-F238E27FC236}">
                  <a16:creationId xmlns:a16="http://schemas.microsoft.com/office/drawing/2014/main" id="{73AA66F3-61AC-8545-1A8C-F49751AD2ADE}"/>
                </a:ext>
              </a:extLst>
            </p:cNvPr>
            <p:cNvSpPr/>
            <p:nvPr/>
          </p:nvSpPr>
          <p:spPr bwMode="gray">
            <a:xfrm>
              <a:off x="3328987" y="971550"/>
              <a:ext cx="5524500" cy="3990975"/>
            </a:xfrm>
            <a:custGeom>
              <a:avLst/>
              <a:gdLst>
                <a:gd name="connsiteX0" fmla="*/ 921449 w 5524500"/>
                <a:gd name="connsiteY0" fmla="*/ 3994785 h 3990975"/>
                <a:gd name="connsiteX1" fmla="*/ 0 w 5524500"/>
                <a:gd name="connsiteY1" fmla="*/ 3994785 h 3990975"/>
                <a:gd name="connsiteX2" fmla="*/ 0 w 5524500"/>
                <a:gd name="connsiteY2" fmla="*/ 2239328 h 3990975"/>
                <a:gd name="connsiteX3" fmla="*/ 460724 w 5524500"/>
                <a:gd name="connsiteY3" fmla="*/ 1778603 h 3990975"/>
                <a:gd name="connsiteX4" fmla="*/ 2093309 w 5524500"/>
                <a:gd name="connsiteY4" fmla="*/ 1778603 h 3990975"/>
                <a:gd name="connsiteX5" fmla="*/ 3491294 w 5524500"/>
                <a:gd name="connsiteY5" fmla="*/ 168116 h 3990975"/>
                <a:gd name="connsiteX6" fmla="*/ 3836003 w 5524500"/>
                <a:gd name="connsiteY6" fmla="*/ 0 h 3990975"/>
                <a:gd name="connsiteX7" fmla="*/ 5528501 w 5524500"/>
                <a:gd name="connsiteY7" fmla="*/ 0 h 3990975"/>
                <a:gd name="connsiteX8" fmla="*/ 5528501 w 5524500"/>
                <a:gd name="connsiteY8" fmla="*/ 921449 h 3990975"/>
                <a:gd name="connsiteX9" fmla="*/ 4046315 w 5524500"/>
                <a:gd name="connsiteY9" fmla="*/ 921449 h 3990975"/>
                <a:gd name="connsiteX10" fmla="*/ 2651570 w 5524500"/>
                <a:gd name="connsiteY10" fmla="*/ 2541270 h 3990975"/>
                <a:gd name="connsiteX11" fmla="*/ 2303621 w 5524500"/>
                <a:gd name="connsiteY11" fmla="*/ 2700052 h 3990975"/>
                <a:gd name="connsiteX12" fmla="*/ 921449 w 5524500"/>
                <a:gd name="connsiteY12" fmla="*/ 2700052 h 3990975"/>
                <a:gd name="connsiteX13" fmla="*/ 921449 w 5524500"/>
                <a:gd name="connsiteY13" fmla="*/ 3994785 h 399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4500" h="3990975">
                  <a:moveTo>
                    <a:pt x="921449" y="3994785"/>
                  </a:moveTo>
                  <a:lnTo>
                    <a:pt x="0" y="3994785"/>
                  </a:lnTo>
                  <a:lnTo>
                    <a:pt x="0" y="2239328"/>
                  </a:lnTo>
                  <a:cubicBezTo>
                    <a:pt x="0" y="1984820"/>
                    <a:pt x="206216" y="1778603"/>
                    <a:pt x="460724" y="1778603"/>
                  </a:cubicBezTo>
                  <a:lnTo>
                    <a:pt x="2093309" y="1778603"/>
                  </a:lnTo>
                  <a:lnTo>
                    <a:pt x="3491294" y="168116"/>
                  </a:lnTo>
                  <a:cubicBezTo>
                    <a:pt x="3578828" y="67247"/>
                    <a:pt x="3702558" y="0"/>
                    <a:pt x="3836003" y="0"/>
                  </a:cubicBezTo>
                  <a:lnTo>
                    <a:pt x="5528501" y="0"/>
                  </a:lnTo>
                  <a:lnTo>
                    <a:pt x="5528501" y="921449"/>
                  </a:lnTo>
                  <a:lnTo>
                    <a:pt x="4046315" y="921449"/>
                  </a:lnTo>
                  <a:lnTo>
                    <a:pt x="2651570" y="2541270"/>
                  </a:lnTo>
                  <a:cubicBezTo>
                    <a:pt x="2564035" y="2642140"/>
                    <a:pt x="2437162" y="2700052"/>
                    <a:pt x="2303621" y="2700052"/>
                  </a:cubicBezTo>
                  <a:lnTo>
                    <a:pt x="921449" y="2700052"/>
                  </a:lnTo>
                  <a:lnTo>
                    <a:pt x="921449" y="39947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22" name="Grafik 470">
            <a:extLst>
              <a:ext uri="{FF2B5EF4-FFF2-40B4-BE49-F238E27FC236}">
                <a16:creationId xmlns:a16="http://schemas.microsoft.com/office/drawing/2014/main" id="{E7565E96-DBDF-9253-F3DC-ABADADDA6AE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07508" y="4901260"/>
            <a:ext cx="608378" cy="540000"/>
            <a:chOff x="2790825" y="495300"/>
            <a:chExt cx="6610350" cy="5867400"/>
          </a:xfrm>
          <a:solidFill>
            <a:schemeClr val="bg1"/>
          </a:solidFill>
        </p:grpSpPr>
        <p:sp>
          <p:nvSpPr>
            <p:cNvPr id="123" name="Freihandform: Form 260">
              <a:extLst>
                <a:ext uri="{FF2B5EF4-FFF2-40B4-BE49-F238E27FC236}">
                  <a16:creationId xmlns:a16="http://schemas.microsoft.com/office/drawing/2014/main" id="{602C95AE-8891-2CF7-2B75-675125DCDF2B}"/>
                </a:ext>
              </a:extLst>
            </p:cNvPr>
            <p:cNvSpPr/>
            <p:nvPr/>
          </p:nvSpPr>
          <p:spPr bwMode="gray">
            <a:xfrm>
              <a:off x="5330451" y="495300"/>
              <a:ext cx="3362325" cy="2981325"/>
            </a:xfrm>
            <a:custGeom>
              <a:avLst/>
              <a:gdLst>
                <a:gd name="connsiteX0" fmla="*/ 259200 w 3362325"/>
                <a:gd name="connsiteY0" fmla="*/ 1531811 h 2981325"/>
                <a:gd name="connsiteX1" fmla="*/ 1611750 w 3362325"/>
                <a:gd name="connsiteY1" fmla="*/ 2907697 h 2981325"/>
                <a:gd name="connsiteX2" fmla="*/ 1684235 w 3362325"/>
                <a:gd name="connsiteY2" fmla="*/ 2987231 h 2981325"/>
                <a:gd name="connsiteX3" fmla="*/ 1756434 w 3362325"/>
                <a:gd name="connsiteY3" fmla="*/ 2907887 h 2981325"/>
                <a:gd name="connsiteX4" fmla="*/ 3109366 w 3362325"/>
                <a:gd name="connsiteY4" fmla="*/ 1531811 h 2981325"/>
                <a:gd name="connsiteX5" fmla="*/ 3358921 w 3362325"/>
                <a:gd name="connsiteY5" fmla="*/ 1022223 h 2981325"/>
                <a:gd name="connsiteX6" fmla="*/ 3092125 w 3362325"/>
                <a:gd name="connsiteY6" fmla="*/ 266986 h 2981325"/>
                <a:gd name="connsiteX7" fmla="*/ 2486812 w 3362325"/>
                <a:gd name="connsiteY7" fmla="*/ 191 h 2981325"/>
                <a:gd name="connsiteX8" fmla="*/ 1892737 w 3362325"/>
                <a:gd name="connsiteY8" fmla="*/ 219837 h 2981325"/>
                <a:gd name="connsiteX9" fmla="*/ 1684330 w 3362325"/>
                <a:gd name="connsiteY9" fmla="*/ 391382 h 2981325"/>
                <a:gd name="connsiteX10" fmla="*/ 1476114 w 3362325"/>
                <a:gd name="connsiteY10" fmla="*/ 219837 h 2981325"/>
                <a:gd name="connsiteX11" fmla="*/ 881849 w 3362325"/>
                <a:gd name="connsiteY11" fmla="*/ 0 h 2981325"/>
                <a:gd name="connsiteX12" fmla="*/ 276440 w 3362325"/>
                <a:gd name="connsiteY12" fmla="*/ 266795 h 2981325"/>
                <a:gd name="connsiteX13" fmla="*/ 9645 w 3362325"/>
                <a:gd name="connsiteY13" fmla="*/ 1022223 h 2981325"/>
                <a:gd name="connsiteX14" fmla="*/ 259200 w 3362325"/>
                <a:gd name="connsiteY14" fmla="*/ 1531811 h 2981325"/>
                <a:gd name="connsiteX15" fmla="*/ 541616 w 3362325"/>
                <a:gd name="connsiteY15" fmla="*/ 532352 h 2981325"/>
                <a:gd name="connsiteX16" fmla="*/ 881849 w 3362325"/>
                <a:gd name="connsiteY16" fmla="*/ 375571 h 2981325"/>
                <a:gd name="connsiteX17" fmla="*/ 1232369 w 3362325"/>
                <a:gd name="connsiteY17" fmla="*/ 505587 h 2981325"/>
                <a:gd name="connsiteX18" fmla="*/ 1619656 w 3362325"/>
                <a:gd name="connsiteY18" fmla="*/ 822865 h 2981325"/>
                <a:gd name="connsiteX19" fmla="*/ 1686521 w 3362325"/>
                <a:gd name="connsiteY19" fmla="*/ 873347 h 2981325"/>
                <a:gd name="connsiteX20" fmla="*/ 1748910 w 3362325"/>
                <a:gd name="connsiteY20" fmla="*/ 822674 h 2981325"/>
                <a:gd name="connsiteX21" fmla="*/ 2135625 w 3362325"/>
                <a:gd name="connsiteY21" fmla="*/ 505778 h 2981325"/>
                <a:gd name="connsiteX22" fmla="*/ 2486526 w 3362325"/>
                <a:gd name="connsiteY22" fmla="*/ 375380 h 2981325"/>
                <a:gd name="connsiteX23" fmla="*/ 2826759 w 3362325"/>
                <a:gd name="connsiteY23" fmla="*/ 532162 h 2981325"/>
                <a:gd name="connsiteX24" fmla="*/ 2987636 w 3362325"/>
                <a:gd name="connsiteY24" fmla="*/ 965549 h 2981325"/>
                <a:gd name="connsiteX25" fmla="*/ 2843999 w 3362325"/>
                <a:gd name="connsiteY25" fmla="*/ 1264634 h 2981325"/>
                <a:gd name="connsiteX26" fmla="*/ 2394324 w 3362325"/>
                <a:gd name="connsiteY26" fmla="*/ 1726502 h 2981325"/>
                <a:gd name="connsiteX27" fmla="*/ 2312028 w 3362325"/>
                <a:gd name="connsiteY27" fmla="*/ 1811369 h 2981325"/>
                <a:gd name="connsiteX28" fmla="*/ 1684235 w 3362325"/>
                <a:gd name="connsiteY28" fmla="*/ 2456593 h 2981325"/>
                <a:gd name="connsiteX29" fmla="*/ 1056442 w 3362325"/>
                <a:gd name="connsiteY29" fmla="*/ 1811369 h 2981325"/>
                <a:gd name="connsiteX30" fmla="*/ 979861 w 3362325"/>
                <a:gd name="connsiteY30" fmla="*/ 1732407 h 2981325"/>
                <a:gd name="connsiteX31" fmla="*/ 524471 w 3362325"/>
                <a:gd name="connsiteY31" fmla="*/ 1265111 h 2981325"/>
                <a:gd name="connsiteX32" fmla="*/ 380834 w 3362325"/>
                <a:gd name="connsiteY32" fmla="*/ 965645 h 2981325"/>
                <a:gd name="connsiteX33" fmla="*/ 541616 w 3362325"/>
                <a:gd name="connsiteY33" fmla="*/ 532352 h 2981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62325" h="2981325">
                  <a:moveTo>
                    <a:pt x="259200" y="1531811"/>
                  </a:moveTo>
                  <a:cubicBezTo>
                    <a:pt x="404456" y="1677257"/>
                    <a:pt x="1600034" y="2895600"/>
                    <a:pt x="1611750" y="2907697"/>
                  </a:cubicBezTo>
                  <a:lnTo>
                    <a:pt x="1684235" y="2987231"/>
                  </a:lnTo>
                  <a:lnTo>
                    <a:pt x="1756434" y="2907887"/>
                  </a:lnTo>
                  <a:cubicBezTo>
                    <a:pt x="1768341" y="2895600"/>
                    <a:pt x="2964109" y="1677257"/>
                    <a:pt x="3109366" y="1531811"/>
                  </a:cubicBezTo>
                  <a:cubicBezTo>
                    <a:pt x="3207759" y="1433227"/>
                    <a:pt x="3324916" y="1247585"/>
                    <a:pt x="3358921" y="1022223"/>
                  </a:cubicBezTo>
                  <a:cubicBezTo>
                    <a:pt x="3387972" y="828485"/>
                    <a:pt x="3365302" y="540163"/>
                    <a:pt x="3092125" y="266986"/>
                  </a:cubicBezTo>
                  <a:cubicBezTo>
                    <a:pt x="2915151" y="90011"/>
                    <a:pt x="2711506" y="191"/>
                    <a:pt x="2486812" y="191"/>
                  </a:cubicBezTo>
                  <a:cubicBezTo>
                    <a:pt x="2159056" y="191"/>
                    <a:pt x="1919026" y="197358"/>
                    <a:pt x="1892737" y="219837"/>
                  </a:cubicBezTo>
                  <a:cubicBezTo>
                    <a:pt x="1848636" y="257461"/>
                    <a:pt x="1711476" y="369284"/>
                    <a:pt x="1684330" y="391382"/>
                  </a:cubicBezTo>
                  <a:cubicBezTo>
                    <a:pt x="1657374" y="369380"/>
                    <a:pt x="1519833" y="257556"/>
                    <a:pt x="1476114" y="219837"/>
                  </a:cubicBezTo>
                  <a:cubicBezTo>
                    <a:pt x="1449634" y="197168"/>
                    <a:pt x="1208937" y="0"/>
                    <a:pt x="881849" y="0"/>
                  </a:cubicBezTo>
                  <a:cubicBezTo>
                    <a:pt x="657059" y="0"/>
                    <a:pt x="453415" y="89821"/>
                    <a:pt x="276440" y="266795"/>
                  </a:cubicBezTo>
                  <a:cubicBezTo>
                    <a:pt x="3168" y="540068"/>
                    <a:pt x="-19407" y="828485"/>
                    <a:pt x="9645" y="1022223"/>
                  </a:cubicBezTo>
                  <a:cubicBezTo>
                    <a:pt x="43649" y="1247585"/>
                    <a:pt x="160806" y="1433227"/>
                    <a:pt x="259200" y="1531811"/>
                  </a:cubicBezTo>
                  <a:close/>
                  <a:moveTo>
                    <a:pt x="541616" y="532352"/>
                  </a:moveTo>
                  <a:cubicBezTo>
                    <a:pt x="645534" y="428244"/>
                    <a:pt x="760119" y="375571"/>
                    <a:pt x="881849" y="375571"/>
                  </a:cubicBezTo>
                  <a:cubicBezTo>
                    <a:pt x="1079588" y="375571"/>
                    <a:pt x="1230940" y="504254"/>
                    <a:pt x="1232369" y="505587"/>
                  </a:cubicBezTo>
                  <a:cubicBezTo>
                    <a:pt x="1329524" y="588264"/>
                    <a:pt x="1616703" y="820484"/>
                    <a:pt x="1619656" y="822865"/>
                  </a:cubicBezTo>
                  <a:lnTo>
                    <a:pt x="1686521" y="873347"/>
                  </a:lnTo>
                  <a:lnTo>
                    <a:pt x="1748910" y="822674"/>
                  </a:lnTo>
                  <a:cubicBezTo>
                    <a:pt x="1751862" y="820293"/>
                    <a:pt x="2038851" y="587978"/>
                    <a:pt x="2135625" y="505778"/>
                  </a:cubicBezTo>
                  <a:cubicBezTo>
                    <a:pt x="2137053" y="504539"/>
                    <a:pt x="2288406" y="375380"/>
                    <a:pt x="2486526" y="375380"/>
                  </a:cubicBezTo>
                  <a:cubicBezTo>
                    <a:pt x="2608065" y="375380"/>
                    <a:pt x="2722650" y="428054"/>
                    <a:pt x="2826759" y="532162"/>
                  </a:cubicBezTo>
                  <a:cubicBezTo>
                    <a:pt x="2958966" y="664369"/>
                    <a:pt x="3011639" y="806101"/>
                    <a:pt x="2987636" y="965549"/>
                  </a:cubicBezTo>
                  <a:cubicBezTo>
                    <a:pt x="2965633" y="1110615"/>
                    <a:pt x="2887052" y="1221867"/>
                    <a:pt x="2843999" y="1264634"/>
                  </a:cubicBezTo>
                  <a:cubicBezTo>
                    <a:pt x="2790564" y="1318070"/>
                    <a:pt x="2606922" y="1507236"/>
                    <a:pt x="2394324" y="1726502"/>
                  </a:cubicBezTo>
                  <a:lnTo>
                    <a:pt x="2312028" y="1811369"/>
                  </a:lnTo>
                  <a:cubicBezTo>
                    <a:pt x="2100477" y="2029111"/>
                    <a:pt x="1732527" y="2407063"/>
                    <a:pt x="1684235" y="2456593"/>
                  </a:cubicBezTo>
                  <a:cubicBezTo>
                    <a:pt x="1636134" y="2407158"/>
                    <a:pt x="1270564" y="2031683"/>
                    <a:pt x="1056442" y="1811369"/>
                  </a:cubicBezTo>
                  <a:lnTo>
                    <a:pt x="979861" y="1732407"/>
                  </a:lnTo>
                  <a:cubicBezTo>
                    <a:pt x="764310" y="1510379"/>
                    <a:pt x="578287" y="1318736"/>
                    <a:pt x="524471" y="1265111"/>
                  </a:cubicBezTo>
                  <a:cubicBezTo>
                    <a:pt x="481513" y="1221962"/>
                    <a:pt x="402551" y="1110520"/>
                    <a:pt x="380834" y="965645"/>
                  </a:cubicBezTo>
                  <a:cubicBezTo>
                    <a:pt x="356926" y="806482"/>
                    <a:pt x="409409" y="664750"/>
                    <a:pt x="541616" y="5323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261">
              <a:extLst>
                <a:ext uri="{FF2B5EF4-FFF2-40B4-BE49-F238E27FC236}">
                  <a16:creationId xmlns:a16="http://schemas.microsoft.com/office/drawing/2014/main" id="{A1F8D701-CF81-E53A-0771-D25D04380B7A}"/>
                </a:ext>
              </a:extLst>
            </p:cNvPr>
            <p:cNvSpPr/>
            <p:nvPr/>
          </p:nvSpPr>
          <p:spPr bwMode="gray">
            <a:xfrm>
              <a:off x="2790825" y="4162139"/>
              <a:ext cx="1095375" cy="1828800"/>
            </a:xfrm>
            <a:custGeom>
              <a:avLst/>
              <a:gdLst>
                <a:gd name="connsiteX0" fmla="*/ 0 w 1095375"/>
                <a:gd name="connsiteY0" fmla="*/ 0 h 1828800"/>
                <a:gd name="connsiteX1" fmla="*/ 1101566 w 1095375"/>
                <a:gd name="connsiteY1" fmla="*/ 0 h 1828800"/>
                <a:gd name="connsiteX2" fmla="*/ 1101566 w 1095375"/>
                <a:gd name="connsiteY2" fmla="*/ 1836230 h 1828800"/>
                <a:gd name="connsiteX3" fmla="*/ 0 w 1095375"/>
                <a:gd name="connsiteY3" fmla="*/ 183623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5375" h="1828800">
                  <a:moveTo>
                    <a:pt x="0" y="0"/>
                  </a:moveTo>
                  <a:lnTo>
                    <a:pt x="1101566" y="0"/>
                  </a:lnTo>
                  <a:lnTo>
                    <a:pt x="1101566" y="1836230"/>
                  </a:lnTo>
                  <a:lnTo>
                    <a:pt x="0" y="18362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262">
              <a:extLst>
                <a:ext uri="{FF2B5EF4-FFF2-40B4-BE49-F238E27FC236}">
                  <a16:creationId xmlns:a16="http://schemas.microsoft.com/office/drawing/2014/main" id="{B84B4F6B-8180-3581-55E9-7ADAF57523D7}"/>
                </a:ext>
              </a:extLst>
            </p:cNvPr>
            <p:cNvSpPr/>
            <p:nvPr/>
          </p:nvSpPr>
          <p:spPr bwMode="gray">
            <a:xfrm>
              <a:off x="4262438" y="3851567"/>
              <a:ext cx="2905125" cy="1504950"/>
            </a:xfrm>
            <a:custGeom>
              <a:avLst/>
              <a:gdLst>
                <a:gd name="connsiteX0" fmla="*/ 1771936 w 2905125"/>
                <a:gd name="connsiteY0" fmla="*/ 446113 h 1504950"/>
                <a:gd name="connsiteX1" fmla="*/ 2450402 w 2905125"/>
                <a:gd name="connsiteY1" fmla="*/ 933317 h 1504950"/>
                <a:gd name="connsiteX2" fmla="*/ 2513553 w 2905125"/>
                <a:gd name="connsiteY2" fmla="*/ 1122674 h 1504950"/>
                <a:gd name="connsiteX3" fmla="*/ 2286953 w 2905125"/>
                <a:gd name="connsiteY3" fmla="*/ 1065429 h 1504950"/>
                <a:gd name="connsiteX4" fmla="*/ 1632871 w 2905125"/>
                <a:gd name="connsiteY4" fmla="*/ 632232 h 1504950"/>
                <a:gd name="connsiteX5" fmla="*/ 1432751 w 2905125"/>
                <a:gd name="connsiteY5" fmla="*/ 932841 h 1504950"/>
                <a:gd name="connsiteX6" fmla="*/ 2098167 w 2905125"/>
                <a:gd name="connsiteY6" fmla="*/ 1376515 h 1504950"/>
                <a:gd name="connsiteX7" fmla="*/ 2809875 w 2905125"/>
                <a:gd name="connsiteY7" fmla="*/ 1334320 h 1504950"/>
                <a:gd name="connsiteX8" fmla="*/ 2611184 w 2905125"/>
                <a:gd name="connsiteY8" fmla="*/ 591560 h 1504950"/>
                <a:gd name="connsiteX9" fmla="*/ 1979105 w 2905125"/>
                <a:gd name="connsiteY9" fmla="*/ 142075 h 1504950"/>
                <a:gd name="connsiteX10" fmla="*/ 1428750 w 2905125"/>
                <a:gd name="connsiteY10" fmla="*/ 7868 h 1504950"/>
                <a:gd name="connsiteX11" fmla="*/ 0 w 2905125"/>
                <a:gd name="connsiteY11" fmla="*/ 308287 h 1504950"/>
                <a:gd name="connsiteX12" fmla="*/ 0 w 2905125"/>
                <a:gd name="connsiteY12" fmla="*/ 690049 h 1504950"/>
                <a:gd name="connsiteX13" fmla="*/ 1482185 w 2905125"/>
                <a:gd name="connsiteY13" fmla="*/ 369437 h 1504950"/>
                <a:gd name="connsiteX14" fmla="*/ 1771936 w 2905125"/>
                <a:gd name="connsiteY14" fmla="*/ 446113 h 150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5125" h="1504950">
                  <a:moveTo>
                    <a:pt x="1771936" y="446113"/>
                  </a:moveTo>
                  <a:lnTo>
                    <a:pt x="2450402" y="933317"/>
                  </a:lnTo>
                  <a:cubicBezTo>
                    <a:pt x="2510981" y="976465"/>
                    <a:pt x="2582418" y="1053808"/>
                    <a:pt x="2513553" y="1122674"/>
                  </a:cubicBezTo>
                  <a:cubicBezTo>
                    <a:pt x="2453354" y="1182872"/>
                    <a:pt x="2350865" y="1111244"/>
                    <a:pt x="2286953" y="1065429"/>
                  </a:cubicBezTo>
                  <a:lnTo>
                    <a:pt x="1632871" y="632232"/>
                  </a:lnTo>
                  <a:lnTo>
                    <a:pt x="1432751" y="932841"/>
                  </a:lnTo>
                  <a:cubicBezTo>
                    <a:pt x="1432751" y="932841"/>
                    <a:pt x="1927765" y="1271836"/>
                    <a:pt x="2098167" y="1376515"/>
                  </a:cubicBezTo>
                  <a:cubicBezTo>
                    <a:pt x="2497170" y="1621689"/>
                    <a:pt x="2698433" y="1464622"/>
                    <a:pt x="2809875" y="1334320"/>
                  </a:cubicBezTo>
                  <a:cubicBezTo>
                    <a:pt x="2907030" y="1220305"/>
                    <a:pt x="3036665" y="889597"/>
                    <a:pt x="2611184" y="591560"/>
                  </a:cubicBezTo>
                  <a:cubicBezTo>
                    <a:pt x="2445163" y="475355"/>
                    <a:pt x="1979105" y="142075"/>
                    <a:pt x="1979105" y="142075"/>
                  </a:cubicBezTo>
                  <a:cubicBezTo>
                    <a:pt x="1818989" y="27490"/>
                    <a:pt x="1623251" y="-20231"/>
                    <a:pt x="1428750" y="7868"/>
                  </a:cubicBezTo>
                  <a:lnTo>
                    <a:pt x="0" y="308287"/>
                  </a:lnTo>
                  <a:lnTo>
                    <a:pt x="0" y="690049"/>
                  </a:lnTo>
                  <a:lnTo>
                    <a:pt x="1482185" y="369437"/>
                  </a:lnTo>
                  <a:cubicBezTo>
                    <a:pt x="1590770" y="355340"/>
                    <a:pt x="1683068" y="382200"/>
                    <a:pt x="1771936" y="4461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263">
              <a:extLst>
                <a:ext uri="{FF2B5EF4-FFF2-40B4-BE49-F238E27FC236}">
                  <a16:creationId xmlns:a16="http://schemas.microsoft.com/office/drawing/2014/main" id="{92789E39-282A-F3A1-4E2C-CAE1DAFF7197}"/>
                </a:ext>
              </a:extLst>
            </p:cNvPr>
            <p:cNvSpPr/>
            <p:nvPr/>
          </p:nvSpPr>
          <p:spPr bwMode="gray">
            <a:xfrm>
              <a:off x="4261961" y="3975305"/>
              <a:ext cx="5133975" cy="2381250"/>
            </a:xfrm>
            <a:custGeom>
              <a:avLst/>
              <a:gdLst>
                <a:gd name="connsiteX0" fmla="*/ 5089303 w 5133975"/>
                <a:gd name="connsiteY0" fmla="*/ 252938 h 2381250"/>
                <a:gd name="connsiteX1" fmla="*/ 4595718 w 5133975"/>
                <a:gd name="connsiteY1" fmla="*/ 14813 h 2381250"/>
                <a:gd name="connsiteX2" fmla="*/ 3123724 w 5133975"/>
                <a:gd name="connsiteY2" fmla="*/ 450868 h 2381250"/>
                <a:gd name="connsiteX3" fmla="*/ 3252788 w 5133975"/>
                <a:gd name="connsiteY3" fmla="*/ 797578 h 2381250"/>
                <a:gd name="connsiteX4" fmla="*/ 4541139 w 5133975"/>
                <a:gd name="connsiteY4" fmla="*/ 412482 h 2381250"/>
                <a:gd name="connsiteX5" fmla="*/ 4771549 w 5133975"/>
                <a:gd name="connsiteY5" fmla="*/ 416292 h 2381250"/>
                <a:gd name="connsiteX6" fmla="*/ 4624293 w 5133975"/>
                <a:gd name="connsiteY6" fmla="*/ 620127 h 2381250"/>
                <a:gd name="connsiteX7" fmla="*/ 2249805 w 5133975"/>
                <a:gd name="connsiteY7" fmla="*/ 2017159 h 2381250"/>
                <a:gd name="connsiteX8" fmla="*/ 0 w 5133975"/>
                <a:gd name="connsiteY8" fmla="*/ 1644350 h 2381250"/>
                <a:gd name="connsiteX9" fmla="*/ 0 w 5133975"/>
                <a:gd name="connsiteY9" fmla="*/ 2023160 h 2381250"/>
                <a:gd name="connsiteX10" fmla="*/ 2295716 w 5133975"/>
                <a:gd name="connsiteY10" fmla="*/ 2387109 h 2381250"/>
                <a:gd name="connsiteX11" fmla="*/ 5000149 w 5133975"/>
                <a:gd name="connsiteY11" fmla="*/ 812151 h 2381250"/>
                <a:gd name="connsiteX12" fmla="*/ 5089303 w 5133975"/>
                <a:gd name="connsiteY12" fmla="*/ 252938 h 238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33975" h="2381250">
                  <a:moveTo>
                    <a:pt x="5089303" y="252938"/>
                  </a:moveTo>
                  <a:cubicBezTo>
                    <a:pt x="5006531" y="87108"/>
                    <a:pt x="4831081" y="-45480"/>
                    <a:pt x="4595718" y="14813"/>
                  </a:cubicBezTo>
                  <a:lnTo>
                    <a:pt x="3123724" y="450868"/>
                  </a:lnTo>
                  <a:lnTo>
                    <a:pt x="3252788" y="797578"/>
                  </a:lnTo>
                  <a:cubicBezTo>
                    <a:pt x="3252788" y="797578"/>
                    <a:pt x="4218432" y="504303"/>
                    <a:pt x="4541139" y="412482"/>
                  </a:cubicBezTo>
                  <a:cubicBezTo>
                    <a:pt x="4656106" y="379811"/>
                    <a:pt x="4742974" y="338854"/>
                    <a:pt x="4771549" y="416292"/>
                  </a:cubicBezTo>
                  <a:cubicBezTo>
                    <a:pt x="4808601" y="516781"/>
                    <a:pt x="4733354" y="553261"/>
                    <a:pt x="4624293" y="620127"/>
                  </a:cubicBezTo>
                  <a:cubicBezTo>
                    <a:pt x="4352925" y="786529"/>
                    <a:pt x="2435448" y="2017159"/>
                    <a:pt x="2249805" y="2017159"/>
                  </a:cubicBezTo>
                  <a:cubicBezTo>
                    <a:pt x="1978247" y="2017159"/>
                    <a:pt x="0" y="1644350"/>
                    <a:pt x="0" y="1644350"/>
                  </a:cubicBezTo>
                  <a:lnTo>
                    <a:pt x="0" y="2023160"/>
                  </a:lnTo>
                  <a:cubicBezTo>
                    <a:pt x="0" y="2023160"/>
                    <a:pt x="2034540" y="2387109"/>
                    <a:pt x="2295716" y="2387109"/>
                  </a:cubicBezTo>
                  <a:cubicBezTo>
                    <a:pt x="2577751" y="2387109"/>
                    <a:pt x="5000149" y="812151"/>
                    <a:pt x="5000149" y="812151"/>
                  </a:cubicBezTo>
                  <a:cubicBezTo>
                    <a:pt x="5155216" y="705376"/>
                    <a:pt x="5173409" y="421150"/>
                    <a:pt x="5089303" y="2529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28" name="Grafik 5">
            <a:extLst>
              <a:ext uri="{FF2B5EF4-FFF2-40B4-BE49-F238E27FC236}">
                <a16:creationId xmlns:a16="http://schemas.microsoft.com/office/drawing/2014/main" id="{6CB76E39-E5D9-C390-267B-2EB5520BC56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58740" y="3777415"/>
            <a:ext cx="765000" cy="540000"/>
            <a:chOff x="2047875" y="571500"/>
            <a:chExt cx="8096250" cy="5715000"/>
          </a:xfrm>
          <a:solidFill>
            <a:schemeClr val="bg1"/>
          </a:solidFill>
        </p:grpSpPr>
        <p:sp>
          <p:nvSpPr>
            <p:cNvPr id="129" name="Freihandform: Form 41">
              <a:extLst>
                <a:ext uri="{FF2B5EF4-FFF2-40B4-BE49-F238E27FC236}">
                  <a16:creationId xmlns:a16="http://schemas.microsoft.com/office/drawing/2014/main" id="{BDDEA35E-57D1-359B-48BE-EC8950C78876}"/>
                </a:ext>
              </a:extLst>
            </p:cNvPr>
            <p:cNvSpPr/>
            <p:nvPr/>
          </p:nvSpPr>
          <p:spPr bwMode="gray">
            <a:xfrm>
              <a:off x="2047875" y="571500"/>
              <a:ext cx="6191250" cy="3810000"/>
            </a:xfrm>
            <a:custGeom>
              <a:avLst/>
              <a:gdLst>
                <a:gd name="connsiteX0" fmla="*/ 0 w 6191250"/>
                <a:gd name="connsiteY0" fmla="*/ 0 h 3810000"/>
                <a:gd name="connsiteX1" fmla="*/ 6192869 w 6191250"/>
                <a:gd name="connsiteY1" fmla="*/ 0 h 3810000"/>
                <a:gd name="connsiteX2" fmla="*/ 6192869 w 6191250"/>
                <a:gd name="connsiteY2" fmla="*/ 3814572 h 3810000"/>
                <a:gd name="connsiteX3" fmla="*/ 0 w 6191250"/>
                <a:gd name="connsiteY3" fmla="*/ 3814572 h 3810000"/>
                <a:gd name="connsiteX4" fmla="*/ 0 w 6191250"/>
                <a:gd name="connsiteY4" fmla="*/ 0 h 3810000"/>
                <a:gd name="connsiteX5" fmla="*/ 4549331 w 6191250"/>
                <a:gd name="connsiteY5" fmla="*/ 1887664 h 3810000"/>
                <a:gd name="connsiteX6" fmla="*/ 3063240 w 6191250"/>
                <a:gd name="connsiteY6" fmla="*/ 401860 h 3810000"/>
                <a:gd name="connsiteX7" fmla="*/ 1567910 w 6191250"/>
                <a:gd name="connsiteY7" fmla="*/ 1887664 h 3810000"/>
                <a:gd name="connsiteX8" fmla="*/ 3053715 w 6191250"/>
                <a:gd name="connsiteY8" fmla="*/ 3392805 h 3810000"/>
                <a:gd name="connsiteX9" fmla="*/ 4549331 w 6191250"/>
                <a:gd name="connsiteY9" fmla="*/ 1887664 h 3810000"/>
                <a:gd name="connsiteX10" fmla="*/ 2291620 w 6191250"/>
                <a:gd name="connsiteY10" fmla="*/ 2211610 h 3810000"/>
                <a:gd name="connsiteX11" fmla="*/ 2119884 w 6191250"/>
                <a:gd name="connsiteY11" fmla="*/ 2211610 h 3810000"/>
                <a:gd name="connsiteX12" fmla="*/ 2119884 w 6191250"/>
                <a:gd name="connsiteY12" fmla="*/ 1982914 h 3810000"/>
                <a:gd name="connsiteX13" fmla="*/ 2263045 w 6191250"/>
                <a:gd name="connsiteY13" fmla="*/ 1982914 h 3810000"/>
                <a:gd name="connsiteX14" fmla="*/ 2253520 w 6191250"/>
                <a:gd name="connsiteY14" fmla="*/ 1897380 h 3810000"/>
                <a:gd name="connsiteX15" fmla="*/ 2263045 w 6191250"/>
                <a:gd name="connsiteY15" fmla="*/ 1821180 h 3810000"/>
                <a:gd name="connsiteX16" fmla="*/ 2119884 w 6191250"/>
                <a:gd name="connsiteY16" fmla="*/ 1821180 h 3810000"/>
                <a:gd name="connsiteX17" fmla="*/ 2119884 w 6191250"/>
                <a:gd name="connsiteY17" fmla="*/ 1592485 h 3810000"/>
                <a:gd name="connsiteX18" fmla="*/ 2291620 w 6191250"/>
                <a:gd name="connsiteY18" fmla="*/ 1592485 h 3810000"/>
                <a:gd name="connsiteX19" fmla="*/ 3091720 w 6191250"/>
                <a:gd name="connsiteY19" fmla="*/ 963644 h 3810000"/>
                <a:gd name="connsiteX20" fmla="*/ 3453765 w 6191250"/>
                <a:gd name="connsiteY20" fmla="*/ 1049179 h 3810000"/>
                <a:gd name="connsiteX21" fmla="*/ 3453765 w 6191250"/>
                <a:gd name="connsiteY21" fmla="*/ 1401699 h 3810000"/>
                <a:gd name="connsiteX22" fmla="*/ 3111056 w 6191250"/>
                <a:gd name="connsiteY22" fmla="*/ 1287399 h 3810000"/>
                <a:gd name="connsiteX23" fmla="*/ 2672810 w 6191250"/>
                <a:gd name="connsiteY23" fmla="*/ 1592294 h 3810000"/>
                <a:gd name="connsiteX24" fmla="*/ 3177540 w 6191250"/>
                <a:gd name="connsiteY24" fmla="*/ 1592294 h 3810000"/>
                <a:gd name="connsiteX25" fmla="*/ 3130106 w 6191250"/>
                <a:gd name="connsiteY25" fmla="*/ 1820989 h 3810000"/>
                <a:gd name="connsiteX26" fmla="*/ 2625090 w 6191250"/>
                <a:gd name="connsiteY26" fmla="*/ 1820989 h 3810000"/>
                <a:gd name="connsiteX27" fmla="*/ 2615565 w 6191250"/>
                <a:gd name="connsiteY27" fmla="*/ 1897189 h 3810000"/>
                <a:gd name="connsiteX28" fmla="*/ 2625090 w 6191250"/>
                <a:gd name="connsiteY28" fmla="*/ 1982724 h 3810000"/>
                <a:gd name="connsiteX29" fmla="*/ 3101435 w 6191250"/>
                <a:gd name="connsiteY29" fmla="*/ 1982724 h 3810000"/>
                <a:gd name="connsiteX30" fmla="*/ 3063335 w 6191250"/>
                <a:gd name="connsiteY30" fmla="*/ 2211419 h 3810000"/>
                <a:gd name="connsiteX31" fmla="*/ 2682240 w 6191250"/>
                <a:gd name="connsiteY31" fmla="*/ 2211419 h 3810000"/>
                <a:gd name="connsiteX32" fmla="*/ 3110960 w 6191250"/>
                <a:gd name="connsiteY32" fmla="*/ 2497265 h 3810000"/>
                <a:gd name="connsiteX33" fmla="*/ 3453670 w 6191250"/>
                <a:gd name="connsiteY33" fmla="*/ 2392490 h 3810000"/>
                <a:gd name="connsiteX34" fmla="*/ 3453670 w 6191250"/>
                <a:gd name="connsiteY34" fmla="*/ 2744724 h 3810000"/>
                <a:gd name="connsiteX35" fmla="*/ 3091624 w 6191250"/>
                <a:gd name="connsiteY35" fmla="*/ 2830449 h 3810000"/>
                <a:gd name="connsiteX36" fmla="*/ 2291620 w 6191250"/>
                <a:gd name="connsiteY36" fmla="*/ 2211610 h 38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91250" h="3810000">
                  <a:moveTo>
                    <a:pt x="0" y="0"/>
                  </a:moveTo>
                  <a:lnTo>
                    <a:pt x="6192869" y="0"/>
                  </a:lnTo>
                  <a:lnTo>
                    <a:pt x="6192869" y="3814572"/>
                  </a:lnTo>
                  <a:lnTo>
                    <a:pt x="0" y="3814572"/>
                  </a:lnTo>
                  <a:lnTo>
                    <a:pt x="0" y="0"/>
                  </a:lnTo>
                  <a:close/>
                  <a:moveTo>
                    <a:pt x="4549331" y="1887664"/>
                  </a:moveTo>
                  <a:cubicBezTo>
                    <a:pt x="4549331" y="1068515"/>
                    <a:pt x="3872865" y="401860"/>
                    <a:pt x="3063240" y="401860"/>
                  </a:cubicBezTo>
                  <a:cubicBezTo>
                    <a:pt x="2205800" y="401860"/>
                    <a:pt x="1567910" y="1097375"/>
                    <a:pt x="1567910" y="1887664"/>
                  </a:cubicBezTo>
                  <a:cubicBezTo>
                    <a:pt x="1567910" y="2745105"/>
                    <a:pt x="2263140" y="3392805"/>
                    <a:pt x="3053715" y="3392805"/>
                  </a:cubicBezTo>
                  <a:cubicBezTo>
                    <a:pt x="3872960" y="3392710"/>
                    <a:pt x="4549331" y="2716530"/>
                    <a:pt x="4549331" y="1887664"/>
                  </a:cubicBezTo>
                  <a:close/>
                  <a:moveTo>
                    <a:pt x="2291620" y="2211610"/>
                  </a:moveTo>
                  <a:lnTo>
                    <a:pt x="2119884" y="2211610"/>
                  </a:lnTo>
                  <a:lnTo>
                    <a:pt x="2119884" y="1982914"/>
                  </a:lnTo>
                  <a:lnTo>
                    <a:pt x="2263045" y="1982914"/>
                  </a:lnTo>
                  <a:lnTo>
                    <a:pt x="2253520" y="1897380"/>
                  </a:lnTo>
                  <a:lnTo>
                    <a:pt x="2263045" y="1821180"/>
                  </a:lnTo>
                  <a:lnTo>
                    <a:pt x="2119884" y="1821180"/>
                  </a:lnTo>
                  <a:lnTo>
                    <a:pt x="2119884" y="1592485"/>
                  </a:lnTo>
                  <a:lnTo>
                    <a:pt x="2291620" y="1592485"/>
                  </a:lnTo>
                  <a:cubicBezTo>
                    <a:pt x="2396204" y="1211390"/>
                    <a:pt x="2701290" y="963644"/>
                    <a:pt x="3091720" y="963644"/>
                  </a:cubicBezTo>
                  <a:cubicBezTo>
                    <a:pt x="3225070" y="963644"/>
                    <a:pt x="3348990" y="992219"/>
                    <a:pt x="3453765" y="1049179"/>
                  </a:cubicBezTo>
                  <a:lnTo>
                    <a:pt x="3453765" y="1401699"/>
                  </a:lnTo>
                  <a:cubicBezTo>
                    <a:pt x="3349181" y="1325499"/>
                    <a:pt x="3234595" y="1287399"/>
                    <a:pt x="3111056" y="1287399"/>
                  </a:cubicBezTo>
                  <a:cubicBezTo>
                    <a:pt x="2910935" y="1287399"/>
                    <a:pt x="2758535" y="1401699"/>
                    <a:pt x="2672810" y="1592294"/>
                  </a:cubicBezTo>
                  <a:lnTo>
                    <a:pt x="3177540" y="1592294"/>
                  </a:lnTo>
                  <a:lnTo>
                    <a:pt x="3130106" y="1820989"/>
                  </a:lnTo>
                  <a:lnTo>
                    <a:pt x="2625090" y="1820989"/>
                  </a:lnTo>
                  <a:lnTo>
                    <a:pt x="2615565" y="1897189"/>
                  </a:lnTo>
                  <a:lnTo>
                    <a:pt x="2625090" y="1982724"/>
                  </a:lnTo>
                  <a:lnTo>
                    <a:pt x="3101435" y="1982724"/>
                  </a:lnTo>
                  <a:lnTo>
                    <a:pt x="3063335" y="2211419"/>
                  </a:lnTo>
                  <a:lnTo>
                    <a:pt x="2682240" y="2211419"/>
                  </a:lnTo>
                  <a:cubicBezTo>
                    <a:pt x="2758249" y="2392394"/>
                    <a:pt x="2910935" y="2497265"/>
                    <a:pt x="3110960" y="2497265"/>
                  </a:cubicBezTo>
                  <a:cubicBezTo>
                    <a:pt x="3234785" y="2497265"/>
                    <a:pt x="3349181" y="2459165"/>
                    <a:pt x="3453670" y="2392490"/>
                  </a:cubicBezTo>
                  <a:lnTo>
                    <a:pt x="3453670" y="2744724"/>
                  </a:lnTo>
                  <a:cubicBezTo>
                    <a:pt x="3349085" y="2801874"/>
                    <a:pt x="3224974" y="2830449"/>
                    <a:pt x="3091624" y="2830449"/>
                  </a:cubicBezTo>
                  <a:cubicBezTo>
                    <a:pt x="2710815" y="2830830"/>
                    <a:pt x="2405920" y="2592705"/>
                    <a:pt x="2291620" y="22116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42">
              <a:extLst>
                <a:ext uri="{FF2B5EF4-FFF2-40B4-BE49-F238E27FC236}">
                  <a16:creationId xmlns:a16="http://schemas.microsoft.com/office/drawing/2014/main" id="{5B38784D-1745-922B-452A-2858ED9155C8}"/>
                </a:ext>
              </a:extLst>
            </p:cNvPr>
            <p:cNvSpPr/>
            <p:nvPr/>
          </p:nvSpPr>
          <p:spPr bwMode="gray">
            <a:xfrm>
              <a:off x="3000661" y="1525715"/>
              <a:ext cx="6191250" cy="3800475"/>
            </a:xfrm>
            <a:custGeom>
              <a:avLst/>
              <a:gdLst>
                <a:gd name="connsiteX0" fmla="*/ 5954649 w 6191250"/>
                <a:gd name="connsiteY0" fmla="*/ 3809524 h 3800475"/>
                <a:gd name="connsiteX1" fmla="*/ 0 w 6191250"/>
                <a:gd name="connsiteY1" fmla="*/ 3809524 h 3800475"/>
                <a:gd name="connsiteX2" fmla="*/ 0 w 6191250"/>
                <a:gd name="connsiteY2" fmla="*/ 3333179 h 3800475"/>
                <a:gd name="connsiteX3" fmla="*/ 5716524 w 6191250"/>
                <a:gd name="connsiteY3" fmla="*/ 3333179 h 3800475"/>
                <a:gd name="connsiteX4" fmla="*/ 5716524 w 6191250"/>
                <a:gd name="connsiteY4" fmla="*/ 0 h 3800475"/>
                <a:gd name="connsiteX5" fmla="*/ 6192870 w 6191250"/>
                <a:gd name="connsiteY5" fmla="*/ 0 h 3800475"/>
                <a:gd name="connsiteX6" fmla="*/ 6192870 w 6191250"/>
                <a:gd name="connsiteY6" fmla="*/ 3571399 h 3800475"/>
                <a:gd name="connsiteX7" fmla="*/ 5954649 w 6191250"/>
                <a:gd name="connsiteY7" fmla="*/ 3809524 h 3800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91250" h="3800475">
                  <a:moveTo>
                    <a:pt x="5954649" y="3809524"/>
                  </a:moveTo>
                  <a:lnTo>
                    <a:pt x="0" y="3809524"/>
                  </a:lnTo>
                  <a:lnTo>
                    <a:pt x="0" y="3333179"/>
                  </a:lnTo>
                  <a:lnTo>
                    <a:pt x="5716524" y="3333179"/>
                  </a:lnTo>
                  <a:lnTo>
                    <a:pt x="5716524" y="0"/>
                  </a:lnTo>
                  <a:lnTo>
                    <a:pt x="6192870" y="0"/>
                  </a:lnTo>
                  <a:lnTo>
                    <a:pt x="6192870" y="3571399"/>
                  </a:lnTo>
                  <a:cubicBezTo>
                    <a:pt x="6192870" y="3703034"/>
                    <a:pt x="6086380" y="3809524"/>
                    <a:pt x="5954649" y="3809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43">
              <a:extLst>
                <a:ext uri="{FF2B5EF4-FFF2-40B4-BE49-F238E27FC236}">
                  <a16:creationId xmlns:a16="http://schemas.microsoft.com/office/drawing/2014/main" id="{A8C63CC2-3909-B8DE-DE7D-B52652BFEE40}"/>
                </a:ext>
              </a:extLst>
            </p:cNvPr>
            <p:cNvSpPr/>
            <p:nvPr/>
          </p:nvSpPr>
          <p:spPr bwMode="gray">
            <a:xfrm>
              <a:off x="3953351" y="2483644"/>
              <a:ext cx="6191250" cy="3800475"/>
            </a:xfrm>
            <a:custGeom>
              <a:avLst/>
              <a:gdLst>
                <a:gd name="connsiteX0" fmla="*/ 5954649 w 6191250"/>
                <a:gd name="connsiteY0" fmla="*/ 3802952 h 3800475"/>
                <a:gd name="connsiteX1" fmla="*/ 0 w 6191250"/>
                <a:gd name="connsiteY1" fmla="*/ 3802952 h 3800475"/>
                <a:gd name="connsiteX2" fmla="*/ 0 w 6191250"/>
                <a:gd name="connsiteY2" fmla="*/ 3326606 h 3800475"/>
                <a:gd name="connsiteX3" fmla="*/ 5716524 w 6191250"/>
                <a:gd name="connsiteY3" fmla="*/ 3326606 h 3800475"/>
                <a:gd name="connsiteX4" fmla="*/ 5716524 w 6191250"/>
                <a:gd name="connsiteY4" fmla="*/ 0 h 3800475"/>
                <a:gd name="connsiteX5" fmla="*/ 6192869 w 6191250"/>
                <a:gd name="connsiteY5" fmla="*/ 0 h 3800475"/>
                <a:gd name="connsiteX6" fmla="*/ 6192869 w 6191250"/>
                <a:gd name="connsiteY6" fmla="*/ 3564731 h 3800475"/>
                <a:gd name="connsiteX7" fmla="*/ 5954649 w 6191250"/>
                <a:gd name="connsiteY7" fmla="*/ 3802952 h 3800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91250" h="3800475">
                  <a:moveTo>
                    <a:pt x="5954649" y="3802952"/>
                  </a:moveTo>
                  <a:lnTo>
                    <a:pt x="0" y="3802952"/>
                  </a:lnTo>
                  <a:lnTo>
                    <a:pt x="0" y="3326606"/>
                  </a:lnTo>
                  <a:lnTo>
                    <a:pt x="5716524" y="3326606"/>
                  </a:lnTo>
                  <a:lnTo>
                    <a:pt x="5716524" y="0"/>
                  </a:lnTo>
                  <a:lnTo>
                    <a:pt x="6192869" y="0"/>
                  </a:lnTo>
                  <a:lnTo>
                    <a:pt x="6192869" y="3564731"/>
                  </a:lnTo>
                  <a:cubicBezTo>
                    <a:pt x="6192869" y="3696462"/>
                    <a:pt x="6086380" y="3802952"/>
                    <a:pt x="5954649" y="38029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3146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>
            <a:extLst>
              <a:ext uri="{FF2B5EF4-FFF2-40B4-BE49-F238E27FC236}">
                <a16:creationId xmlns:a16="http://schemas.microsoft.com/office/drawing/2014/main" id="{966EE017-36F6-92B8-FE3B-7BA0AAFC13B7}"/>
              </a:ext>
            </a:extLst>
          </p:cNvPr>
          <p:cNvSpPr/>
          <p:nvPr/>
        </p:nvSpPr>
        <p:spPr bwMode="gray">
          <a:xfrm>
            <a:off x="407987" y="516885"/>
            <a:ext cx="113760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400" dirty="0">
                <a:solidFill>
                  <a:schemeClr val="accent1"/>
                </a:solidFill>
              </a:rPr>
              <a:t>Angestellte begrüßen eine </a:t>
            </a:r>
            <a:r>
              <a:rPr lang="de-DE" sz="5400" b="1" dirty="0">
                <a:solidFill>
                  <a:schemeClr val="accent1"/>
                </a:solidFill>
              </a:rPr>
              <a:t>betriebliche Krankenversicherung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AD316EFE-BFBB-8304-594B-FDF6CF22EB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2003436"/>
              </p:ext>
            </p:extLst>
          </p:nvPr>
        </p:nvGraphicFramePr>
        <p:xfrm>
          <a:off x="407987" y="2271211"/>
          <a:ext cx="11376025" cy="3750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2F0B37E3-A96F-ADD8-916C-6716372471DA}"/>
              </a:ext>
            </a:extLst>
          </p:cNvPr>
          <p:cNvSpPr txBox="1"/>
          <p:nvPr/>
        </p:nvSpPr>
        <p:spPr>
          <a:xfrm>
            <a:off x="4296225" y="3594758"/>
            <a:ext cx="360000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1800" dirty="0">
                <a:solidFill>
                  <a:schemeClr val="tx1"/>
                </a:solidFill>
              </a:rPr>
              <a:t>2.501 </a:t>
            </a:r>
            <a:br>
              <a:rPr lang="de-DE" sz="1800" dirty="0">
                <a:solidFill>
                  <a:schemeClr val="tx1"/>
                </a:solidFill>
              </a:rPr>
            </a:br>
            <a:r>
              <a:rPr lang="de-DE" sz="1800" dirty="0">
                <a:solidFill>
                  <a:schemeClr val="tx1"/>
                </a:solidFill>
              </a:rPr>
              <a:t>Befragt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2E85F64-E499-4980-4D23-6A2696669799}"/>
              </a:ext>
            </a:extLst>
          </p:cNvPr>
          <p:cNvSpPr txBox="1"/>
          <p:nvPr/>
        </p:nvSpPr>
        <p:spPr>
          <a:xfrm>
            <a:off x="8520546" y="6469925"/>
            <a:ext cx="3263468" cy="23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de-DE" sz="900" dirty="0">
                <a:solidFill>
                  <a:schemeClr val="accent6"/>
                </a:solidFill>
              </a:rPr>
              <a:t>Umfrage des Instituts </a:t>
            </a:r>
            <a:r>
              <a:rPr lang="de-DE" sz="900" dirty="0" err="1">
                <a:solidFill>
                  <a:schemeClr val="accent6"/>
                </a:solidFill>
              </a:rPr>
              <a:t>Civey</a:t>
            </a:r>
            <a:r>
              <a:rPr lang="de-DE" sz="900" dirty="0">
                <a:solidFill>
                  <a:schemeClr val="accent6"/>
                </a:solidFill>
              </a:rPr>
              <a:t> im Auftrag des PKV-Verbands</a:t>
            </a:r>
          </a:p>
        </p:txBody>
      </p:sp>
    </p:spTree>
    <p:extLst>
      <p:ext uri="{BB962C8B-B14F-4D97-AF65-F5344CB8AC3E}">
        <p14:creationId xmlns:p14="http://schemas.microsoft.com/office/powerpoint/2010/main" val="117095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El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-Master_16zu9">
  <a:themeElements>
    <a:clrScheme name="Benutzerdefiniert 120">
      <a:dk1>
        <a:sysClr val="windowText" lastClr="000000"/>
      </a:dk1>
      <a:lt1>
        <a:sysClr val="window" lastClr="FFFFFF"/>
      </a:lt1>
      <a:dk2>
        <a:srgbClr val="ECECED"/>
      </a:dk2>
      <a:lt2>
        <a:srgbClr val="EDF6F2"/>
      </a:lt2>
      <a:accent1>
        <a:srgbClr val="00A075"/>
      </a:accent1>
      <a:accent2>
        <a:srgbClr val="7DBF68"/>
      </a:accent2>
      <a:accent3>
        <a:srgbClr val="005E52"/>
      </a:accent3>
      <a:accent4>
        <a:srgbClr val="A49B97"/>
      </a:accent4>
      <a:accent5>
        <a:srgbClr val="D1CDCB"/>
      </a:accent5>
      <a:accent6>
        <a:srgbClr val="8D827D"/>
      </a:accent6>
      <a:hlink>
        <a:srgbClr val="00A075"/>
      </a:hlink>
      <a:folHlink>
        <a:srgbClr val="005E52"/>
      </a:folHlink>
    </a:clrScheme>
    <a:fontScheme name="HanseMerk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108000" rIns="108000" bIns="108000" rtlCol="0" anchor="t" anchorCtr="0"/>
      <a:lstStyle>
        <a:defPPr marL="180000" indent="-180000" algn="l">
          <a:lnSpc>
            <a:spcPct val="100000"/>
          </a:lnSpc>
          <a:spcBef>
            <a:spcPts val="600"/>
          </a:spcBef>
          <a:buFont typeface="Arial" panose="020B0604020202020204" pitchFamily="34" charset="0"/>
          <a:buChar char="•"/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wrap="none" lIns="0" tIns="0" rIns="0" bIns="0" rtlCol="0">
        <a:spAutoFit/>
      </a:bodyPr>
      <a:lstStyle>
        <a:defPPr marL="180000" indent="-180000" algn="l">
          <a:spcBef>
            <a:spcPts val="6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E9D0B7"/>
    </a:custClr>
    <a:custClr>
      <a:srgbClr val="6D1B34"/>
    </a:custClr>
    <a:custClr>
      <a:srgbClr val="D88210"/>
    </a:custClr>
    <a:custClr>
      <a:srgbClr val="FDC300"/>
    </a:custClr>
    <a:custClr>
      <a:srgbClr val="87CEDC"/>
    </a:custClr>
    <a:custClr>
      <a:srgbClr val="8D827D"/>
    </a:custClr>
    <a:custClr>
      <a:srgbClr val="194383"/>
    </a:custClr>
    <a:custClr>
      <a:srgbClr val="EB5B25"/>
    </a:custClr>
    <a:custClr>
      <a:srgbClr val="7F5CAA"/>
    </a:custClr>
    <a:custClr>
      <a:srgbClr val="FFFFFF"/>
    </a:custClr>
    <a:custClr>
      <a:srgbClr val="EDD9C5"/>
    </a:custClr>
    <a:custClr>
      <a:srgbClr val="8A495D"/>
    </a:custClr>
    <a:custClr>
      <a:srgbClr val="E09B40"/>
    </a:custClr>
    <a:custClr>
      <a:srgbClr val="FDCF33"/>
    </a:custClr>
    <a:custClr>
      <a:srgbClr val="9FD8E3"/>
    </a:custClr>
    <a:custClr>
      <a:srgbClr val="A49B97"/>
    </a:custClr>
    <a:custClr>
      <a:srgbClr val="47699C"/>
    </a:custClr>
    <a:custClr>
      <a:srgbClr val="EF7C51"/>
    </a:custClr>
    <a:custClr>
      <a:srgbClr val="997DBB"/>
    </a:custClr>
    <a:custClr>
      <a:srgbClr val="FFFFFF"/>
    </a:custClr>
    <a:custClr>
      <a:srgbClr val="F2E3D4"/>
    </a:custClr>
    <a:custClr>
      <a:srgbClr val="A77685"/>
    </a:custClr>
    <a:custClr>
      <a:srgbClr val="E8B470"/>
    </a:custClr>
    <a:custClr>
      <a:srgbClr val="FEDB66"/>
    </a:custClr>
    <a:custClr>
      <a:srgbClr val="B7E2EA"/>
    </a:custClr>
    <a:custClr>
      <a:srgbClr val="BBB4B1"/>
    </a:custClr>
    <a:custClr>
      <a:srgbClr val="758EB5"/>
    </a:custClr>
    <a:custClr>
      <a:srgbClr val="F39D7C"/>
    </a:custClr>
    <a:custClr>
      <a:srgbClr val="B29DCC"/>
    </a:custClr>
    <a:custClr>
      <a:srgbClr val="FFFFFF"/>
    </a:custClr>
    <a:custClr>
      <a:srgbClr val="F6ECE2"/>
    </a:custClr>
    <a:custClr>
      <a:srgbClr val="C5A4AE"/>
    </a:custClr>
    <a:custClr>
      <a:srgbClr val="EFCD9F"/>
    </a:custClr>
    <a:custClr>
      <a:srgbClr val="FEE799"/>
    </a:custClr>
    <a:custClr>
      <a:srgbClr val="CFEBF1"/>
    </a:custClr>
    <a:custClr>
      <a:srgbClr val="D1CDCB"/>
    </a:custClr>
    <a:custClr>
      <a:srgbClr val="A3B4CD"/>
    </a:custClr>
    <a:custClr>
      <a:srgbClr val="F7BDA8"/>
    </a:custClr>
    <a:custClr>
      <a:srgbClr val="CCBEDD"/>
    </a:custClr>
    <a:custClr>
      <a:srgbClr val="FFFFFF"/>
    </a:custClr>
    <a:custClr>
      <a:srgbClr val="00A075"/>
    </a:custClr>
    <a:custClr>
      <a:srgbClr val="FDC300"/>
    </a:custClr>
    <a:custClr>
      <a:srgbClr val="FF0000"/>
    </a:custClr>
  </a:custClrLst>
  <a:extLst>
    <a:ext uri="{05A4C25C-085E-4340-85A3-A5531E510DB2}">
      <thm15:themeFamily xmlns:thm15="http://schemas.microsoft.com/office/thememl/2012/main" name="PowerPoint-Master_16zu9_scr03.potx" id="{058D9E05-9717-4FE9-B46E-6DC31325D89B}" vid="{5A84A002-C5BA-4B2B-A5FD-AFC4EEC0D753}"/>
    </a:ext>
  </a:extLst>
</a:theme>
</file>

<file path=ppt/theme/theme2.xml><?xml version="1.0" encoding="utf-8"?>
<a:theme xmlns:a="http://schemas.openxmlformats.org/drawingml/2006/main" name="1_PowerPoint-Master_16zu9">
  <a:themeElements>
    <a:clrScheme name="HanseMerkur_final">
      <a:dk1>
        <a:sysClr val="windowText" lastClr="000000"/>
      </a:dk1>
      <a:lt1>
        <a:sysClr val="window" lastClr="FFFFFF"/>
      </a:lt1>
      <a:dk2>
        <a:srgbClr val="ECECED"/>
      </a:dk2>
      <a:lt2>
        <a:srgbClr val="EDF6F2"/>
      </a:lt2>
      <a:accent1>
        <a:srgbClr val="00A075"/>
      </a:accent1>
      <a:accent2>
        <a:srgbClr val="7DBF68"/>
      </a:accent2>
      <a:accent3>
        <a:srgbClr val="005E52"/>
      </a:accent3>
      <a:accent4>
        <a:srgbClr val="A49B97"/>
      </a:accent4>
      <a:accent5>
        <a:srgbClr val="D1CDCB"/>
      </a:accent5>
      <a:accent6>
        <a:srgbClr val="8D827D"/>
      </a:accent6>
      <a:hlink>
        <a:srgbClr val="00A075"/>
      </a:hlink>
      <a:folHlink>
        <a:srgbClr val="005E52"/>
      </a:folHlink>
    </a:clrScheme>
    <a:fontScheme name="HanseMerk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108000" rIns="108000" bIns="108000" rtlCol="0" anchor="t" anchorCtr="0"/>
      <a:lstStyle>
        <a:defPPr marL="180000" indent="-180000" algn="l">
          <a:lnSpc>
            <a:spcPct val="100000"/>
          </a:lnSpc>
          <a:spcBef>
            <a:spcPts val="600"/>
          </a:spcBef>
          <a:buFont typeface="Arial" panose="020B0604020202020204" pitchFamily="34" charset="0"/>
          <a:buChar char="•"/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wrap="none" lIns="0" tIns="0" rIns="0" bIns="0" rtlCol="0">
        <a:spAutoFit/>
      </a:bodyPr>
      <a:lstStyle>
        <a:defPPr marL="180000" indent="-180000" algn="l">
          <a:spcBef>
            <a:spcPts val="6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E9D0B7"/>
    </a:custClr>
    <a:custClr>
      <a:srgbClr val="6D1B34"/>
    </a:custClr>
    <a:custClr>
      <a:srgbClr val="D88210"/>
    </a:custClr>
    <a:custClr>
      <a:srgbClr val="FDC300"/>
    </a:custClr>
    <a:custClr>
      <a:srgbClr val="87CEDC"/>
    </a:custClr>
    <a:custClr>
      <a:srgbClr val="8D827D"/>
    </a:custClr>
    <a:custClr>
      <a:srgbClr val="194383"/>
    </a:custClr>
    <a:custClr>
      <a:srgbClr val="EB5B25"/>
    </a:custClr>
    <a:custClr>
      <a:srgbClr val="7F5CAA"/>
    </a:custClr>
    <a:custClr>
      <a:srgbClr val="FFFFFF"/>
    </a:custClr>
    <a:custClr>
      <a:srgbClr val="EDD9C5"/>
    </a:custClr>
    <a:custClr>
      <a:srgbClr val="8A495D"/>
    </a:custClr>
    <a:custClr>
      <a:srgbClr val="E09B40"/>
    </a:custClr>
    <a:custClr>
      <a:srgbClr val="FDCF33"/>
    </a:custClr>
    <a:custClr>
      <a:srgbClr val="9FD8E3"/>
    </a:custClr>
    <a:custClr>
      <a:srgbClr val="A49B97"/>
    </a:custClr>
    <a:custClr>
      <a:srgbClr val="47699C"/>
    </a:custClr>
    <a:custClr>
      <a:srgbClr val="EF7C51"/>
    </a:custClr>
    <a:custClr>
      <a:srgbClr val="997DBB"/>
    </a:custClr>
    <a:custClr>
      <a:srgbClr val="FFFFFF"/>
    </a:custClr>
    <a:custClr>
      <a:srgbClr val="F2E3D4"/>
    </a:custClr>
    <a:custClr>
      <a:srgbClr val="A77685"/>
    </a:custClr>
    <a:custClr>
      <a:srgbClr val="E8B470"/>
    </a:custClr>
    <a:custClr>
      <a:srgbClr val="FEDB66"/>
    </a:custClr>
    <a:custClr>
      <a:srgbClr val="B7E2EA"/>
    </a:custClr>
    <a:custClr>
      <a:srgbClr val="BBB4B1"/>
    </a:custClr>
    <a:custClr>
      <a:srgbClr val="758EB5"/>
    </a:custClr>
    <a:custClr>
      <a:srgbClr val="F39D7C"/>
    </a:custClr>
    <a:custClr>
      <a:srgbClr val="B29DCC"/>
    </a:custClr>
    <a:custClr>
      <a:srgbClr val="FFFFFF"/>
    </a:custClr>
    <a:custClr>
      <a:srgbClr val="F6ECE2"/>
    </a:custClr>
    <a:custClr>
      <a:srgbClr val="C5A4AE"/>
    </a:custClr>
    <a:custClr>
      <a:srgbClr val="EFCD9F"/>
    </a:custClr>
    <a:custClr>
      <a:srgbClr val="FEE799"/>
    </a:custClr>
    <a:custClr>
      <a:srgbClr val="CFEBF1"/>
    </a:custClr>
    <a:custClr>
      <a:srgbClr val="D1CDCB"/>
    </a:custClr>
    <a:custClr>
      <a:srgbClr val="A3B4CD"/>
    </a:custClr>
    <a:custClr>
      <a:srgbClr val="F7BDA8"/>
    </a:custClr>
    <a:custClr>
      <a:srgbClr val="CCBEDD"/>
    </a:custClr>
    <a:custClr>
      <a:srgbClr val="FFFFFF"/>
    </a:custClr>
    <a:custClr>
      <a:srgbClr val="00A075"/>
    </a:custClr>
    <a:custClr>
      <a:srgbClr val="FDC300"/>
    </a:custClr>
    <a:custClr>
      <a:srgbClr val="FF0000"/>
    </a:custClr>
  </a:custClrLst>
  <a:extLst>
    <a:ext uri="{05A4C25C-085E-4340-85A3-A5531E510DB2}">
      <thm15:themeFamily xmlns:thm15="http://schemas.microsoft.com/office/thememl/2012/main" name="Präsentation3" id="{55853ADE-003D-46CE-8E53-AE4BBB36B7A5}" vid="{44D219CB-C65D-4771-9FB9-3BD45AAF4487}"/>
    </a:ext>
  </a:extLst>
</a:theme>
</file>

<file path=ppt/theme/theme3.xml><?xml version="1.0" encoding="utf-8"?>
<a:theme xmlns:a="http://schemas.openxmlformats.org/drawingml/2006/main" name="PowerPoint Folienpool">
  <a:themeElements>
    <a:clrScheme name="HanseMerkur">
      <a:dk1>
        <a:sysClr val="windowText" lastClr="000000"/>
      </a:dk1>
      <a:lt1>
        <a:sysClr val="window" lastClr="FFFFFF"/>
      </a:lt1>
      <a:dk2>
        <a:srgbClr val="00A075"/>
      </a:dk2>
      <a:lt2>
        <a:srgbClr val="E0F0E8"/>
      </a:lt2>
      <a:accent1>
        <a:srgbClr val="00A075"/>
      </a:accent1>
      <a:accent2>
        <a:srgbClr val="7DBF68"/>
      </a:accent2>
      <a:accent3>
        <a:srgbClr val="005E52"/>
      </a:accent3>
      <a:accent4>
        <a:srgbClr val="CBC3BB"/>
      </a:accent4>
      <a:accent5>
        <a:srgbClr val="918A87"/>
      </a:accent5>
      <a:accent6>
        <a:srgbClr val="54565A"/>
      </a:accent6>
      <a:hlink>
        <a:srgbClr val="00A075"/>
      </a:hlink>
      <a:folHlink>
        <a:srgbClr val="005E52"/>
      </a:folHlink>
    </a:clrScheme>
    <a:fontScheme name="HanseMerk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custClrLst>
    <a:custClr>
      <a:srgbClr val="641937"/>
    </a:custClr>
    <a:custClr>
      <a:srgbClr val="C68C2D"/>
    </a:custClr>
    <a:custClr>
      <a:srgbClr val="EBCD23"/>
    </a:custClr>
    <a:custClr>
      <a:srgbClr val="AAD0DC"/>
    </a:custClr>
    <a:custClr>
      <a:srgbClr val="918A87"/>
    </a:custClr>
    <a:custClr>
      <a:srgbClr val="324187"/>
    </a:custClr>
    <a:custClr>
      <a:srgbClr val="CD6937"/>
    </a:custClr>
    <a:custClr>
      <a:srgbClr val="825FAA"/>
    </a:custClr>
    <a:custClr>
      <a:srgbClr val="E4E4E4"/>
    </a:custClr>
    <a:custClr>
      <a:srgbClr val="FFFFFF"/>
    </a:custClr>
    <a:custClr>
      <a:srgbClr val="00A075"/>
    </a:custClr>
    <a:custClr>
      <a:srgbClr val="EBCD23"/>
    </a:custClr>
    <a:custClr>
      <a:srgbClr val="D4280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9BDFC1FB-862B-4310-966F-0A472319FFEB}" vid="{06544723-EBBB-4E17-BD11-B2D3CC5C491E}"/>
    </a:ext>
  </a:extLst>
</a:theme>
</file>

<file path=ppt/theme/theme4.xml><?xml version="1.0" encoding="utf-8"?>
<a:theme xmlns:a="http://schemas.openxmlformats.org/drawingml/2006/main" name="Office">
  <a:themeElements>
    <a:clrScheme name="HanseMerkur_final">
      <a:dk1>
        <a:sysClr val="windowText" lastClr="000000"/>
      </a:dk1>
      <a:lt1>
        <a:sysClr val="window" lastClr="FFFFFF"/>
      </a:lt1>
      <a:dk2>
        <a:srgbClr val="ECECED"/>
      </a:dk2>
      <a:lt2>
        <a:srgbClr val="EDF6F2"/>
      </a:lt2>
      <a:accent1>
        <a:srgbClr val="00A075"/>
      </a:accent1>
      <a:accent2>
        <a:srgbClr val="7DBF68"/>
      </a:accent2>
      <a:accent3>
        <a:srgbClr val="005E52"/>
      </a:accent3>
      <a:accent4>
        <a:srgbClr val="A49B97"/>
      </a:accent4>
      <a:accent5>
        <a:srgbClr val="D1CDCB"/>
      </a:accent5>
      <a:accent6>
        <a:srgbClr val="8D827D"/>
      </a:accent6>
      <a:hlink>
        <a:srgbClr val="00A075"/>
      </a:hlink>
      <a:folHlink>
        <a:srgbClr val="005E52"/>
      </a:folHlink>
    </a:clrScheme>
    <a:fontScheme name="HanseMerk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HanseMerkur_final">
      <a:dk1>
        <a:sysClr val="windowText" lastClr="000000"/>
      </a:dk1>
      <a:lt1>
        <a:sysClr val="window" lastClr="FFFFFF"/>
      </a:lt1>
      <a:dk2>
        <a:srgbClr val="ECECED"/>
      </a:dk2>
      <a:lt2>
        <a:srgbClr val="EDF6F2"/>
      </a:lt2>
      <a:accent1>
        <a:srgbClr val="00A075"/>
      </a:accent1>
      <a:accent2>
        <a:srgbClr val="7DBF68"/>
      </a:accent2>
      <a:accent3>
        <a:srgbClr val="005E52"/>
      </a:accent3>
      <a:accent4>
        <a:srgbClr val="A49B97"/>
      </a:accent4>
      <a:accent5>
        <a:srgbClr val="D1CDCB"/>
      </a:accent5>
      <a:accent6>
        <a:srgbClr val="8D827D"/>
      </a:accent6>
      <a:hlink>
        <a:srgbClr val="00A075"/>
      </a:hlink>
      <a:folHlink>
        <a:srgbClr val="005E52"/>
      </a:folHlink>
    </a:clrScheme>
    <a:fontScheme name="HanseMerk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b85b1ee-6648-4a92-a9ef-f8d6e5cf10ce" xsi:nil="true"/>
    <lcf76f155ced4ddcb4097134ff3c332f xmlns="f09be68a-d087-43bf-b661-b13fb719ed1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508A2EED2A734CA9F62A50CE8CFBD3" ma:contentTypeVersion="11" ma:contentTypeDescription="Ein neues Dokument erstellen." ma:contentTypeScope="" ma:versionID="e627131cad885d8f25b975d70c504d3a">
  <xsd:schema xmlns:xsd="http://www.w3.org/2001/XMLSchema" xmlns:xs="http://www.w3.org/2001/XMLSchema" xmlns:p="http://schemas.microsoft.com/office/2006/metadata/properties" xmlns:ns2="f09be68a-d087-43bf-b661-b13fb719ed13" xmlns:ns3="bb85b1ee-6648-4a92-a9ef-f8d6e5cf10ce" targetNamespace="http://schemas.microsoft.com/office/2006/metadata/properties" ma:root="true" ma:fieldsID="14c71ba99443ec63e1de96a64343ea20" ns2:_="" ns3:_="">
    <xsd:import namespace="f09be68a-d087-43bf-b661-b13fb719ed13"/>
    <xsd:import namespace="bb85b1ee-6648-4a92-a9ef-f8d6e5cf10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9be68a-d087-43bf-b661-b13fb719ed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bb6eb85-5be6-4ee9-8478-9729a065974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85b1ee-6648-4a92-a9ef-f8d6e5cf10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37fd778-cc0d-4615-9871-67d3ba8207ec}" ma:internalName="TaxCatchAll" ma:showField="CatchAllData" ma:web="bb85b1ee-6648-4a92-a9ef-f8d6e5cf10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61062E-C758-432A-9F97-D9C61FF20B5F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f09be68a-d087-43bf-b661-b13fb719ed13"/>
    <ds:schemaRef ds:uri="http://purl.org/dc/elements/1.1/"/>
    <ds:schemaRef ds:uri="bb85b1ee-6648-4a92-a9ef-f8d6e5cf10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B564C15-7A83-4BE5-B9B6-92E7B1A1CC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31C544-CEEE-4003-A3F8-9EDE808B3B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9be68a-d087-43bf-b661-b13fb719ed13"/>
    <ds:schemaRef ds:uri="bb85b1ee-6648-4a92-a9ef-f8d6e5cf10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18</Words>
  <Application>Microsoft Office PowerPoint</Application>
  <PresentationFormat>Breitbild</PresentationFormat>
  <Paragraphs>392</Paragraphs>
  <Slides>35</Slides>
  <Notes>15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5" baseType="lpstr">
      <vt:lpstr>Arial</vt:lpstr>
      <vt:lpstr>Comfortaa</vt:lpstr>
      <vt:lpstr>Metric-Regular</vt:lpstr>
      <vt:lpstr>Metric-SemiBold</vt:lpstr>
      <vt:lpstr>Source Sans 3</vt:lpstr>
      <vt:lpstr>Source Serif 4</vt:lpstr>
      <vt:lpstr>PowerPoint-Master_16zu9</vt:lpstr>
      <vt:lpstr>1_PowerPoint-Master_16zu9</vt:lpstr>
      <vt:lpstr>PowerPoint Folienpool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Budgettarife im Detail (1/2)</vt:lpstr>
      <vt:lpstr>Budgettarife im Detail (2/2)</vt:lpstr>
      <vt:lpstr>Individuelle Leistungsbausteine – Zahnbehandlung und Zahnersatz</vt:lpstr>
      <vt:lpstr>Individuelle Leistungsbausteine – ambulante Behandlung</vt:lpstr>
      <vt:lpstr>Individuelle Leistungsbausteine – stationäre Behandlung und Krankentagegeld</vt:lpstr>
      <vt:lpstr>Krebs-Scan (BKZY) – nur bei der HanseMerkur</vt:lpstr>
    </vt:vector>
  </TitlesOfParts>
  <Manager>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Köster, Sybille</dc:creator>
  <dc:description>Optimiert für Office 365</dc:description>
  <cp:lastModifiedBy>Blazek, Marvin</cp:lastModifiedBy>
  <cp:revision>83</cp:revision>
  <dcterms:created xsi:type="dcterms:W3CDTF">2023-08-25T08:49:52Z</dcterms:created>
  <dcterms:modified xsi:type="dcterms:W3CDTF">2025-07-08T10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508A2EED2A734CA9F62A50CE8CFBD3</vt:lpwstr>
  </property>
  <property fmtid="{D5CDD505-2E9C-101B-9397-08002B2CF9AE}" pid="3" name="MediaServiceImageTags">
    <vt:lpwstr/>
  </property>
</Properties>
</file>